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97" r:id="rId2"/>
    <p:sldId id="273" r:id="rId3"/>
    <p:sldId id="276" r:id="rId4"/>
    <p:sldId id="282" r:id="rId5"/>
    <p:sldId id="299" r:id="rId6"/>
    <p:sldId id="302" r:id="rId7"/>
    <p:sldId id="296" r:id="rId8"/>
    <p:sldId id="300" r:id="rId9"/>
    <p:sldId id="287" r:id="rId10"/>
    <p:sldId id="291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Section" id="{EA8457C2-CD7C-2E46-87F6-ADCD89AF1E0F}">
          <p14:sldIdLst>
            <p14:sldId id="297"/>
            <p14:sldId id="273"/>
            <p14:sldId id="276"/>
            <p14:sldId id="282"/>
            <p14:sldId id="299"/>
            <p14:sldId id="302"/>
            <p14:sldId id="296"/>
            <p14:sldId id="300"/>
            <p14:sldId id="287"/>
            <p14:sldId id="29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96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FDF"/>
    <a:srgbClr val="D3307C"/>
    <a:srgbClr val="C9F1FF"/>
    <a:srgbClr val="000000"/>
    <a:srgbClr val="478F00"/>
    <a:srgbClr val="5DBE00"/>
    <a:srgbClr val="1E4DA2"/>
    <a:srgbClr val="404040"/>
    <a:srgbClr val="646464"/>
    <a:srgbClr val="D20B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5C21147-C217-4D25-85DE-635B7C345756}" v="3" dt="2025-12-08T15:56:46.2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5394" autoAdjust="0"/>
  </p:normalViewPr>
  <p:slideViewPr>
    <p:cSldViewPr snapToGrid="0" snapToObjects="1">
      <p:cViewPr varScale="1">
        <p:scale>
          <a:sx n="97" d="100"/>
          <a:sy n="97" d="100"/>
        </p:scale>
        <p:origin x="1110" y="78"/>
      </p:cViewPr>
      <p:guideLst>
        <p:guide orient="horz" pos="2296"/>
        <p:guide pos="3840"/>
      </p:guideLst>
    </p:cSldViewPr>
  </p:slideViewPr>
  <p:outlineViewPr>
    <p:cViewPr>
      <p:scale>
        <a:sx n="33" d="100"/>
        <a:sy n="33" d="100"/>
      </p:scale>
      <p:origin x="0" y="-14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241" y="51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ra Macleod" userId="26cfe7bc934b946e" providerId="LiveId" clId="{A9C9B37D-40ED-4A69-AD95-851630402761}"/>
    <pc:docChg chg="undo custSel delSld modSld modSection">
      <pc:chgData name="Sandra Macleod" userId="26cfe7bc934b946e" providerId="LiveId" clId="{A9C9B37D-40ED-4A69-AD95-851630402761}" dt="2025-12-08T15:57:12.251" v="365" actId="6549"/>
      <pc:docMkLst>
        <pc:docMk/>
      </pc:docMkLst>
      <pc:sldChg chg="modSp mod">
        <pc:chgData name="Sandra Macleod" userId="26cfe7bc934b946e" providerId="LiveId" clId="{A9C9B37D-40ED-4A69-AD95-851630402761}" dt="2025-12-03T17:44:45.059" v="99" actId="114"/>
        <pc:sldMkLst>
          <pc:docMk/>
          <pc:sldMk cId="3884118742" sldId="273"/>
        </pc:sldMkLst>
        <pc:spChg chg="mod">
          <ac:chgData name="Sandra Macleod" userId="26cfe7bc934b946e" providerId="LiveId" clId="{A9C9B37D-40ED-4A69-AD95-851630402761}" dt="2025-12-03T17:44:45.059" v="99" actId="114"/>
          <ac:spMkLst>
            <pc:docMk/>
            <pc:sldMk cId="3884118742" sldId="273"/>
            <ac:spMk id="39" creationId="{B843C9EE-B5A1-86D6-F1C3-E5914A49DBAE}"/>
          </ac:spMkLst>
        </pc:spChg>
      </pc:sldChg>
      <pc:sldChg chg="modSp mod">
        <pc:chgData name="Sandra Macleod" userId="26cfe7bc934b946e" providerId="LiveId" clId="{A9C9B37D-40ED-4A69-AD95-851630402761}" dt="2025-12-08T15:57:12.251" v="365" actId="6549"/>
        <pc:sldMkLst>
          <pc:docMk/>
          <pc:sldMk cId="3632740444" sldId="276"/>
        </pc:sldMkLst>
        <pc:spChg chg="mod">
          <ac:chgData name="Sandra Macleod" userId="26cfe7bc934b946e" providerId="LiveId" clId="{A9C9B37D-40ED-4A69-AD95-851630402761}" dt="2025-12-04T15:27:00.910" v="304" actId="20577"/>
          <ac:spMkLst>
            <pc:docMk/>
            <pc:sldMk cId="3632740444" sldId="276"/>
            <ac:spMk id="2" creationId="{4511E707-5FAD-9131-DBA3-F11172C0F18C}"/>
          </ac:spMkLst>
        </pc:spChg>
        <pc:spChg chg="mod">
          <ac:chgData name="Sandra Macleod" userId="26cfe7bc934b946e" providerId="LiveId" clId="{A9C9B37D-40ED-4A69-AD95-851630402761}" dt="2025-12-08T15:57:12.251" v="365" actId="6549"/>
          <ac:spMkLst>
            <pc:docMk/>
            <pc:sldMk cId="3632740444" sldId="276"/>
            <ac:spMk id="6" creationId="{78F3248F-1443-B785-A4F7-0C9BEF8E49CA}"/>
          </ac:spMkLst>
        </pc:spChg>
        <pc:spChg chg="mod">
          <ac:chgData name="Sandra Macleod" userId="26cfe7bc934b946e" providerId="LiveId" clId="{A9C9B37D-40ED-4A69-AD95-851630402761}" dt="2025-12-04T15:27:10.673" v="305" actId="1076"/>
          <ac:spMkLst>
            <pc:docMk/>
            <pc:sldMk cId="3632740444" sldId="276"/>
            <ac:spMk id="7" creationId="{09A36F78-C945-39A5-8EBA-121F1C4BFB2A}"/>
          </ac:spMkLst>
        </pc:spChg>
        <pc:spChg chg="mod">
          <ac:chgData name="Sandra Macleod" userId="26cfe7bc934b946e" providerId="LiveId" clId="{A9C9B37D-40ED-4A69-AD95-851630402761}" dt="2025-12-08T15:56:58.525" v="362" actId="1076"/>
          <ac:spMkLst>
            <pc:docMk/>
            <pc:sldMk cId="3632740444" sldId="276"/>
            <ac:spMk id="8" creationId="{06EDF80D-BC44-6C84-76CC-51AD1E41AA2C}"/>
          </ac:spMkLst>
        </pc:spChg>
        <pc:picChg chg="mod">
          <ac:chgData name="Sandra Macleod" userId="26cfe7bc934b946e" providerId="LiveId" clId="{A9C9B37D-40ED-4A69-AD95-851630402761}" dt="2025-12-04T15:27:14.456" v="306" actId="1076"/>
          <ac:picMkLst>
            <pc:docMk/>
            <pc:sldMk cId="3632740444" sldId="276"/>
            <ac:picMk id="9" creationId="{3E98FC84-D107-5B3C-A5CC-577CE5142049}"/>
          </ac:picMkLst>
        </pc:picChg>
      </pc:sldChg>
      <pc:sldChg chg="modSp mod">
        <pc:chgData name="Sandra Macleod" userId="26cfe7bc934b946e" providerId="LiveId" clId="{A9C9B37D-40ED-4A69-AD95-851630402761}" dt="2025-12-03T17:43:58.251" v="43" actId="20577"/>
        <pc:sldMkLst>
          <pc:docMk/>
          <pc:sldMk cId="1508863751" sldId="282"/>
        </pc:sldMkLst>
        <pc:spChg chg="mod">
          <ac:chgData name="Sandra Macleod" userId="26cfe7bc934b946e" providerId="LiveId" clId="{A9C9B37D-40ED-4A69-AD95-851630402761}" dt="2025-12-03T17:43:58.251" v="43" actId="20577"/>
          <ac:spMkLst>
            <pc:docMk/>
            <pc:sldMk cId="1508863751" sldId="282"/>
            <ac:spMk id="14" creationId="{985F1085-96B9-F7AB-BC02-C04BD7CB89BC}"/>
          </ac:spMkLst>
        </pc:spChg>
      </pc:sldChg>
      <pc:sldChg chg="modSp mod">
        <pc:chgData name="Sandra Macleod" userId="26cfe7bc934b946e" providerId="LiveId" clId="{A9C9B37D-40ED-4A69-AD95-851630402761}" dt="2025-12-03T17:45:13.071" v="121" actId="20577"/>
        <pc:sldMkLst>
          <pc:docMk/>
          <pc:sldMk cId="2388539360" sldId="296"/>
        </pc:sldMkLst>
        <pc:spChg chg="mod">
          <ac:chgData name="Sandra Macleod" userId="26cfe7bc934b946e" providerId="LiveId" clId="{A9C9B37D-40ED-4A69-AD95-851630402761}" dt="2025-12-03T17:45:13.071" v="121" actId="20577"/>
          <ac:spMkLst>
            <pc:docMk/>
            <pc:sldMk cId="2388539360" sldId="296"/>
            <ac:spMk id="8" creationId="{A8D0F2C8-6EBC-26FC-6A2B-63041AE0BF3C}"/>
          </ac:spMkLst>
        </pc:spChg>
      </pc:sldChg>
      <pc:sldChg chg="modSp mod">
        <pc:chgData name="Sandra Macleod" userId="26cfe7bc934b946e" providerId="LiveId" clId="{A9C9B37D-40ED-4A69-AD95-851630402761}" dt="2025-12-03T17:40:25.751" v="6" actId="20577"/>
        <pc:sldMkLst>
          <pc:docMk/>
          <pc:sldMk cId="1474546978" sldId="297"/>
        </pc:sldMkLst>
        <pc:spChg chg="mod">
          <ac:chgData name="Sandra Macleod" userId="26cfe7bc934b946e" providerId="LiveId" clId="{A9C9B37D-40ED-4A69-AD95-851630402761}" dt="2025-12-03T17:40:25.751" v="6" actId="20577"/>
          <ac:spMkLst>
            <pc:docMk/>
            <pc:sldMk cId="1474546978" sldId="297"/>
            <ac:spMk id="4" creationId="{BD51DB4D-5E70-3E9B-3B65-59CD9E1571C1}"/>
          </ac:spMkLst>
        </pc:spChg>
      </pc:sldChg>
      <pc:sldChg chg="modSp mod">
        <pc:chgData name="Sandra Macleod" userId="26cfe7bc934b946e" providerId="LiveId" clId="{A9C9B37D-40ED-4A69-AD95-851630402761}" dt="2025-12-03T17:43:52.889" v="36" actId="5793"/>
        <pc:sldMkLst>
          <pc:docMk/>
          <pc:sldMk cId="3607501506" sldId="299"/>
        </pc:sldMkLst>
        <pc:spChg chg="mod">
          <ac:chgData name="Sandra Macleod" userId="26cfe7bc934b946e" providerId="LiveId" clId="{A9C9B37D-40ED-4A69-AD95-851630402761}" dt="2025-12-03T17:43:52.889" v="36" actId="5793"/>
          <ac:spMkLst>
            <pc:docMk/>
            <pc:sldMk cId="3607501506" sldId="299"/>
            <ac:spMk id="14" creationId="{E52E7AC0-4532-8F29-3501-F851DD03970A}"/>
          </ac:spMkLst>
        </pc:spChg>
      </pc:sldChg>
      <pc:sldChg chg="modSp mod">
        <pc:chgData name="Sandra Macleod" userId="26cfe7bc934b946e" providerId="LiveId" clId="{A9C9B37D-40ED-4A69-AD95-851630402761}" dt="2025-12-08T09:16:11.966" v="359" actId="14100"/>
        <pc:sldMkLst>
          <pc:docMk/>
          <pc:sldMk cId="9028836" sldId="300"/>
        </pc:sldMkLst>
        <pc:spChg chg="mod">
          <ac:chgData name="Sandra Macleod" userId="26cfe7bc934b946e" providerId="LiveId" clId="{A9C9B37D-40ED-4A69-AD95-851630402761}" dt="2025-12-03T17:45:34.730" v="133" actId="20577"/>
          <ac:spMkLst>
            <pc:docMk/>
            <pc:sldMk cId="9028836" sldId="300"/>
            <ac:spMk id="3" creationId="{63645A51-0C3D-47C0-31C3-592CBBCE4765}"/>
          </ac:spMkLst>
        </pc:spChg>
        <pc:spChg chg="mod">
          <ac:chgData name="Sandra Macleod" userId="26cfe7bc934b946e" providerId="LiveId" clId="{A9C9B37D-40ED-4A69-AD95-851630402761}" dt="2025-12-08T09:16:11.966" v="359" actId="14100"/>
          <ac:spMkLst>
            <pc:docMk/>
            <pc:sldMk cId="9028836" sldId="300"/>
            <ac:spMk id="40" creationId="{88DCE435-1D90-5CB0-AEE5-7F1EEE289A1B}"/>
          </ac:spMkLst>
        </pc:spChg>
        <pc:spChg chg="mod">
          <ac:chgData name="Sandra Macleod" userId="26cfe7bc934b946e" providerId="LiveId" clId="{A9C9B37D-40ED-4A69-AD95-851630402761}" dt="2025-12-04T15:24:33.323" v="152" actId="1076"/>
          <ac:spMkLst>
            <pc:docMk/>
            <pc:sldMk cId="9028836" sldId="300"/>
            <ac:spMk id="42" creationId="{7D0EC7D3-2CAD-6F53-7875-80FE113695BF}"/>
          </ac:spMkLst>
        </pc:spChg>
        <pc:spChg chg="ord">
          <ac:chgData name="Sandra Macleod" userId="26cfe7bc934b946e" providerId="LiveId" clId="{A9C9B37D-40ED-4A69-AD95-851630402761}" dt="2025-12-04T15:24:14.446" v="148" actId="167"/>
          <ac:spMkLst>
            <pc:docMk/>
            <pc:sldMk cId="9028836" sldId="300"/>
            <ac:spMk id="47" creationId="{79C843BE-E459-FA3D-E00F-68F76B335EC1}"/>
          </ac:spMkLst>
        </pc:spChg>
        <pc:spChg chg="mod">
          <ac:chgData name="Sandra Macleod" userId="26cfe7bc934b946e" providerId="LiveId" clId="{A9C9B37D-40ED-4A69-AD95-851630402761}" dt="2025-12-04T15:23:53.343" v="141" actId="1076"/>
          <ac:spMkLst>
            <pc:docMk/>
            <pc:sldMk cId="9028836" sldId="300"/>
            <ac:spMk id="51" creationId="{78BAC9FD-1C94-8D53-1697-4D350DF9969F}"/>
          </ac:spMkLst>
        </pc:spChg>
        <pc:spChg chg="mod">
          <ac:chgData name="Sandra Macleod" userId="26cfe7bc934b946e" providerId="LiveId" clId="{A9C9B37D-40ED-4A69-AD95-851630402761}" dt="2025-12-04T15:27:59.020" v="309" actId="1076"/>
          <ac:spMkLst>
            <pc:docMk/>
            <pc:sldMk cId="9028836" sldId="300"/>
            <ac:spMk id="55" creationId="{D4254D73-30A5-8F07-494A-8A01CD6A0C18}"/>
          </ac:spMkLst>
        </pc:spChg>
        <pc:spChg chg="mod">
          <ac:chgData name="Sandra Macleod" userId="26cfe7bc934b946e" providerId="LiveId" clId="{A9C9B37D-40ED-4A69-AD95-851630402761}" dt="2025-12-04T15:24:42.026" v="163" actId="1076"/>
          <ac:spMkLst>
            <pc:docMk/>
            <pc:sldMk cId="9028836" sldId="300"/>
            <ac:spMk id="57" creationId="{D493B4BF-0B69-DE22-A806-B8FE6C681E69}"/>
          </ac:spMkLst>
        </pc:spChg>
        <pc:picChg chg="mod">
          <ac:chgData name="Sandra Macleod" userId="26cfe7bc934b946e" providerId="LiveId" clId="{A9C9B37D-40ED-4A69-AD95-851630402761}" dt="2025-12-04T15:24:08.378" v="146" actId="1076"/>
          <ac:picMkLst>
            <pc:docMk/>
            <pc:sldMk cId="9028836" sldId="300"/>
            <ac:picMk id="44" creationId="{E4006A88-1314-9427-4073-D81E748BEF53}"/>
          </ac:picMkLst>
        </pc:picChg>
        <pc:picChg chg="mod">
          <ac:chgData name="Sandra Macleod" userId="26cfe7bc934b946e" providerId="LiveId" clId="{A9C9B37D-40ED-4A69-AD95-851630402761}" dt="2025-12-04T15:24:17.243" v="149" actId="1076"/>
          <ac:picMkLst>
            <pc:docMk/>
            <pc:sldMk cId="9028836" sldId="300"/>
            <ac:picMk id="58" creationId="{EA0E2BEC-6386-8C10-D303-123FA549B995}"/>
          </ac:picMkLst>
        </pc:picChg>
      </pc:sldChg>
      <pc:sldChg chg="modSp mod">
        <pc:chgData name="Sandra Macleod" userId="26cfe7bc934b946e" providerId="LiveId" clId="{A9C9B37D-40ED-4A69-AD95-851630402761}" dt="2025-12-08T09:15:42.356" v="354" actId="20577"/>
        <pc:sldMkLst>
          <pc:docMk/>
          <pc:sldMk cId="1690706613" sldId="302"/>
        </pc:sldMkLst>
        <pc:spChg chg="mod">
          <ac:chgData name="Sandra Macleod" userId="26cfe7bc934b946e" providerId="LiveId" clId="{A9C9B37D-40ED-4A69-AD95-851630402761}" dt="2025-12-08T09:15:42.356" v="354" actId="20577"/>
          <ac:spMkLst>
            <pc:docMk/>
            <pc:sldMk cId="1690706613" sldId="302"/>
            <ac:spMk id="8" creationId="{4B6A660A-12C4-C987-7075-134D3E87C6B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AAC0AF3-AA17-5E42-8E4D-6B7850D3CDC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499CBC-9A43-694B-835E-FFD90F9AE1E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BC67B8-FE7F-DE4A-BC37-F2C0B3C4AB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8E66F3-188D-1947-BED1-08C328A3D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800883"/>
      </p:ext>
    </p:extLst>
  </p:cSld>
  <p:clrMap bg1="lt1" tx1="dk1" bg2="lt2" tx2="dk2" accent1="accent1" accent2="accent2" accent3="accent3" accent4="accent4" accent5="accent5" accent6="accent6" hlink="hlink" folHlink="folHlink"/>
  <p:hf sldNum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1A7A03-68B4-434E-92A0-05D89C317B16}" type="datetimeFigureOut">
              <a:rPr lang="en-US" smtClean="0"/>
              <a:t>12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A14574-2B76-B244-8AB3-17B109C492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88940"/>
      </p:ext>
    </p:extLst>
  </p:cSld>
  <p:clrMap bg1="lt1" tx1="dk1" bg2="lt2" tx2="dk2" accent1="accent1" accent2="accent2" accent3="accent3" accent4="accent4" accent5="accent5" accent6="accent6" hlink="hlink" folHlink="folHlink"/>
  <p:hf sldNum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856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jp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jp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jp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@echo_research" TargetMode="External"/><Relationship Id="rId13" Type="http://schemas.openxmlformats.org/officeDocument/2006/relationships/image" Target="../media/image1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12" Type="http://schemas.openxmlformats.org/officeDocument/2006/relationships/hyperlink" Target="https://www.linkedin.com/company/echo-research/" TargetMode="Externa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9.png"/><Relationship Id="rId10" Type="http://schemas.openxmlformats.org/officeDocument/2006/relationships/hyperlink" Target="https://x.com/EchoResearch" TargetMode="External"/><Relationship Id="rId4" Type="http://schemas.openxmlformats.org/officeDocument/2006/relationships/image" Target="../media/image15.jpg"/><Relationship Id="rId9" Type="http://schemas.openxmlformats.org/officeDocument/2006/relationships/image" Target="../media/image16.png"/><Relationship Id="rId14" Type="http://schemas.openxmlformats.org/officeDocument/2006/relationships/hyperlink" Target="https://www.echoresearch.com/" TargetMode="Externa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37AA769-398D-A1B2-5732-B29E23BCBF1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13" r="13"/>
          <a:stretch/>
        </p:blipFill>
        <p:spPr>
          <a:xfrm>
            <a:off x="-1" y="0"/>
            <a:ext cx="12188824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3176" y="5268118"/>
            <a:ext cx="12188824" cy="1621166"/>
          </a:xfrm>
          <a:prstGeom prst="rect">
            <a:avLst/>
          </a:prstGeom>
          <a:gradFill>
            <a:gsLst>
              <a:gs pos="100000">
                <a:srgbClr val="002060"/>
              </a:gs>
              <a:gs pos="56000">
                <a:srgbClr val="1A428A"/>
              </a:gs>
              <a:gs pos="0">
                <a:srgbClr val="012161"/>
              </a:gs>
              <a:gs pos="100000">
                <a:srgbClr val="1A428A"/>
              </a:gs>
            </a:gsLst>
            <a:lin ang="10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593059" y="554183"/>
            <a:ext cx="8125200" cy="5787100"/>
          </a:xfrm>
          <a:prstGeom prst="rect">
            <a:avLst/>
          </a:prstGeom>
          <a:gradFill flip="none" rotWithShape="1">
            <a:gsLst>
              <a:gs pos="0">
                <a:srgbClr val="2256B4"/>
              </a:gs>
              <a:gs pos="100000">
                <a:srgbClr val="012161"/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6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684951"/>
            <a:ext cx="3778436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additional info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79537" y="3477316"/>
            <a:ext cx="7194787" cy="117310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defRPr sz="3500" b="1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Enter the </a:t>
            </a:r>
            <a:br>
              <a:rPr lang="en-US" dirty="0"/>
            </a:br>
            <a:r>
              <a:rPr lang="en-US" dirty="0"/>
              <a:t>title he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8CB726F-C7B7-1D5B-DD90-693496F2E17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09819" y="949963"/>
            <a:ext cx="1926006" cy="722252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06AF17E5-2671-201E-701D-BAA48226DF5E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8810624" y="5781997"/>
            <a:ext cx="2949815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0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8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echoresearch.com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3F3B38-9B75-2DA1-1220-5F3C319E754D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4787476" y="5672630"/>
            <a:ext cx="3778436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0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8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1F56FD0-7FDF-45F3-45DC-C1D376CCBFBB}"/>
              </a:ext>
            </a:extLst>
          </p:cNvPr>
          <p:cNvSpPr/>
          <p:nvPr userDrawn="1"/>
        </p:nvSpPr>
        <p:spPr>
          <a:xfrm>
            <a:off x="4787476" y="554183"/>
            <a:ext cx="3941001" cy="14319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n>
                <a:noFill/>
              </a:ln>
            </a:endParaRP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5071733" y="949963"/>
            <a:ext cx="3381153" cy="722252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ent Logo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DBA497C2-03F0-9EC9-994A-03993F6345A2}"/>
              </a:ext>
            </a:extLst>
          </p:cNvPr>
          <p:cNvSpPr/>
          <p:nvPr userDrawn="1"/>
        </p:nvSpPr>
        <p:spPr>
          <a:xfrm rot="5400000">
            <a:off x="-45018" y="3762335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8372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eneric Presentation Cov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8CA8D34D-3F36-7844-8EBD-70DF717398AD}"/>
              </a:ext>
            </a:extLst>
          </p:cNvPr>
          <p:cNvSpPr txBox="1"/>
          <p:nvPr userDrawn="1"/>
        </p:nvSpPr>
        <p:spPr>
          <a:xfrm>
            <a:off x="6241774" y="-21866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24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15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ic Presentation Cover 2">
    <p:bg>
      <p:bgPr>
        <a:gradFill flip="none" rotWithShape="1"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A428A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8CA8D34D-3F36-7844-8EBD-70DF717398AD}"/>
              </a:ext>
            </a:extLst>
          </p:cNvPr>
          <p:cNvSpPr txBox="1"/>
          <p:nvPr userDrawn="1"/>
        </p:nvSpPr>
        <p:spPr>
          <a:xfrm>
            <a:off x="6241774" y="-21866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8996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15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eneric Presentation Cover 2">
    <p:bg>
      <p:bgPr>
        <a:gradFill flip="none" rotWithShape="1"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A428A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220CA0E-BE48-D837-6149-77937AA69F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-10285"/>
            <a:ext cx="12210290" cy="6868285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8CA8D34D-3F36-7844-8EBD-70DF717398AD}"/>
              </a:ext>
            </a:extLst>
          </p:cNvPr>
          <p:cNvSpPr txBox="1"/>
          <p:nvPr userDrawn="1"/>
        </p:nvSpPr>
        <p:spPr>
          <a:xfrm>
            <a:off x="6241774" y="-21866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latin typeface="Segoe UI" panose="020B0502040204020203" pitchFamily="34" charset="0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3EBA4FB-AE55-5F0B-5E6C-FDAC62B885E3}"/>
              </a:ext>
            </a:extLst>
          </p:cNvPr>
          <p:cNvSpPr txBox="1">
            <a:spLocks/>
          </p:cNvSpPr>
          <p:nvPr userDrawn="1"/>
        </p:nvSpPr>
        <p:spPr>
          <a:xfrm>
            <a:off x="9480376" y="6259894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/>
              <a:t> </a:t>
            </a:r>
            <a:endParaRPr lang="en-US" b="0" i="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ED3A1F04-7044-780D-4AD6-0B5AB4EEA6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57646" y="1397284"/>
            <a:ext cx="8588304" cy="48237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100012" indent="-285750" algn="l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Clr>
                <a:srgbClr val="D3307C"/>
              </a:buClr>
              <a:buFont typeface="Arial" panose="020B0604020202020204" pitchFamily="34" charset="0"/>
              <a:buChar char="•"/>
              <a:defRPr sz="18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/>
            </a:lvl2pPr>
            <a:lvl3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/>
            </a:lvl3pPr>
            <a:lvl4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/>
            </a:lvl4pPr>
            <a:lvl5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68BB0A6-9D23-AE56-0B9C-2F2E2FA161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57647" y="770283"/>
            <a:ext cx="2013331" cy="329717"/>
          </a:xfrm>
          <a:prstGeom prst="rect">
            <a:avLst/>
          </a:prstGeom>
        </p:spPr>
        <p:txBody>
          <a:bodyPr tIns="0" rIns="0" bIns="0" anchor="b" anchorCtr="0">
            <a:noAutofit/>
          </a:bodyPr>
          <a:lstStyle>
            <a:lvl1pPr algn="l">
              <a:defRPr sz="2200" b="1" i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dirty="0"/>
              <a:t>Key takeaways</a:t>
            </a:r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8CCA32A-2A94-D794-2602-79655248F3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57646" y="6533481"/>
            <a:ext cx="4750285" cy="180975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9A33CF3-96DC-CCA6-EC91-62ADF872DC14}"/>
              </a:ext>
            </a:extLst>
          </p:cNvPr>
          <p:cNvCxnSpPr>
            <a:cxnSpLocks/>
          </p:cNvCxnSpPr>
          <p:nvPr userDrawn="1"/>
        </p:nvCxnSpPr>
        <p:spPr>
          <a:xfrm>
            <a:off x="5070978" y="969288"/>
            <a:ext cx="657497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0402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15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Generic Presentation Cov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220CA0E-BE48-D837-6149-77937AA69F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8290" y="-10285"/>
            <a:ext cx="12210290" cy="6868285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8CA8D34D-3F36-7844-8EBD-70DF717398AD}"/>
              </a:ext>
            </a:extLst>
          </p:cNvPr>
          <p:cNvSpPr txBox="1"/>
          <p:nvPr userDrawn="1"/>
        </p:nvSpPr>
        <p:spPr>
          <a:xfrm>
            <a:off x="6241774" y="-21866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latin typeface="Segoe UI" panose="020B0502040204020203" pitchFamily="34" charset="0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3EBA4FB-AE55-5F0B-5E6C-FDAC62B885E3}"/>
              </a:ext>
            </a:extLst>
          </p:cNvPr>
          <p:cNvSpPr txBox="1">
            <a:spLocks/>
          </p:cNvSpPr>
          <p:nvPr userDrawn="1"/>
        </p:nvSpPr>
        <p:spPr>
          <a:xfrm>
            <a:off x="9480376" y="6259894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tx1"/>
                </a:solidFill>
              </a:rPr>
              <a:t> </a:t>
            </a:r>
            <a:endParaRPr lang="en-US" b="0" i="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ED3A1F04-7044-780D-4AD6-0B5AB4EEA6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57646" y="1397284"/>
            <a:ext cx="8588304" cy="48237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100012" indent="-285750" algn="l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Clr>
                <a:srgbClr val="D3307C"/>
              </a:buClr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/>
            </a:lvl2pPr>
            <a:lvl3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/>
            </a:lvl3pPr>
            <a:lvl4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/>
            </a:lvl4pPr>
            <a:lvl5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68BB0A6-9D23-AE56-0B9C-2F2E2FA161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57647" y="770283"/>
            <a:ext cx="2013331" cy="329717"/>
          </a:xfrm>
          <a:prstGeom prst="rect">
            <a:avLst/>
          </a:prstGeom>
        </p:spPr>
        <p:txBody>
          <a:bodyPr tIns="0" rIns="0" bIns="0" anchor="b" anchorCtr="0">
            <a:noAutofit/>
          </a:bodyPr>
          <a:lstStyle>
            <a:lvl1pPr algn="l">
              <a:defRPr sz="2200" b="1" i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dirty="0"/>
              <a:t>Key takeaways</a:t>
            </a:r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8CCA32A-2A94-D794-2602-79655248F3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57646" y="6533481"/>
            <a:ext cx="4750285" cy="180975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9A33CF3-96DC-CCA6-EC91-62ADF872DC14}"/>
              </a:ext>
            </a:extLst>
          </p:cNvPr>
          <p:cNvCxnSpPr>
            <a:cxnSpLocks/>
          </p:cNvCxnSpPr>
          <p:nvPr userDrawn="1"/>
        </p:nvCxnSpPr>
        <p:spPr>
          <a:xfrm>
            <a:off x="5070978" y="969288"/>
            <a:ext cx="657497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1761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15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Presentation Cover 2">
    <p:bg>
      <p:bgPr>
        <a:gradFill flip="none" rotWithShape="1"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A428A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9862A1D-D85B-EC9E-7663-BD841A27AC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986" y="22032"/>
            <a:ext cx="12192000" cy="6330975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8CA8D34D-3F36-7844-8EBD-70DF717398AD}"/>
              </a:ext>
            </a:extLst>
          </p:cNvPr>
          <p:cNvSpPr txBox="1"/>
          <p:nvPr userDrawn="1"/>
        </p:nvSpPr>
        <p:spPr>
          <a:xfrm>
            <a:off x="6241774" y="-21866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latin typeface="Segoe UI" panose="020B0502040204020203" pitchFamily="34" charset="0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EDB43908-BBF9-7F97-5C38-A035AE5CDB7A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 Placeholder 32">
            <a:extLst>
              <a:ext uri="{FF2B5EF4-FFF2-40B4-BE49-F238E27FC236}">
                <a16:creationId xmlns:a16="http://schemas.microsoft.com/office/drawing/2014/main" id="{91E7507F-D51C-4273-C9CF-09AA2BDDB2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1502" y="1158225"/>
            <a:ext cx="5614981" cy="4690433"/>
          </a:xfrm>
          <a:prstGeom prst="rect">
            <a:avLst/>
          </a:prstGeom>
        </p:spPr>
        <p:txBody>
          <a:bodyPr lIns="0" tIns="0" rIns="0" bIns="0" anchor="t" anchorCtr="0"/>
          <a:lstStyle>
            <a:lvl1pPr marL="285750" indent="-285750" algn="l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Clr>
                <a:srgbClr val="D3307C"/>
              </a:buClr>
              <a:buFont typeface="Arial" panose="020B0604020202020204" pitchFamily="34" charset="0"/>
              <a:buChar char="•"/>
              <a:defRPr sz="18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>
                <a:solidFill>
                  <a:schemeClr val="bg1"/>
                </a:solidFill>
              </a:defRPr>
            </a:lvl2pPr>
            <a:lvl3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>
                <a:solidFill>
                  <a:schemeClr val="bg1"/>
                </a:solidFill>
              </a:defRPr>
            </a:lvl3pPr>
            <a:lvl4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>
                <a:solidFill>
                  <a:schemeClr val="bg1"/>
                </a:solidFill>
              </a:defRPr>
            </a:lvl4pPr>
            <a:lvl5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8B381CD-6AD9-C96B-54FC-1BE2841C169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8493" y="440566"/>
            <a:ext cx="3844114" cy="329717"/>
          </a:xfrm>
          <a:prstGeom prst="rect">
            <a:avLst/>
          </a:prstGeom>
        </p:spPr>
        <p:txBody>
          <a:bodyPr tIns="0" rIns="0" bIns="0" anchor="b" anchorCtr="0">
            <a:noAutofit/>
          </a:bodyPr>
          <a:lstStyle>
            <a:lvl1pPr algn="l">
              <a:defRPr sz="2200" b="1" i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dirty="0"/>
              <a:t>Key takeaways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B9D00B6-67E1-4929-316A-5E7450DBA00F}"/>
              </a:ext>
            </a:extLst>
          </p:cNvPr>
          <p:cNvCxnSpPr>
            <a:cxnSpLocks/>
          </p:cNvCxnSpPr>
          <p:nvPr userDrawn="1"/>
        </p:nvCxnSpPr>
        <p:spPr>
          <a:xfrm>
            <a:off x="2306757" y="652345"/>
            <a:ext cx="935972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5E871351-6943-C769-4983-01593A2AC230}"/>
              </a:ext>
            </a:extLst>
          </p:cNvPr>
          <p:cNvSpPr/>
          <p:nvPr userDrawn="1"/>
        </p:nvSpPr>
        <p:spPr>
          <a:xfrm>
            <a:off x="-9543" y="6354762"/>
            <a:ext cx="12213266" cy="524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09B037B-83A4-00EC-298A-8B8B821FA95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69307"/>
            <a:ext cx="4750285" cy="180975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14" name="Picture 13" descr="A blue and black logo&#10;&#10;Description automatically generated">
            <a:extLst>
              <a:ext uri="{FF2B5EF4-FFF2-40B4-BE49-F238E27FC236}">
                <a16:creationId xmlns:a16="http://schemas.microsoft.com/office/drawing/2014/main" id="{13EBE83F-EBBE-7A0F-30F5-FC931C0A774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011" y="6459579"/>
            <a:ext cx="788054" cy="289232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F12F7BC-0B65-DE8D-AC35-CB0DDE5C435E}"/>
              </a:ext>
            </a:extLst>
          </p:cNvPr>
          <p:cNvSpPr txBox="1">
            <a:spLocks/>
          </p:cNvSpPr>
          <p:nvPr userDrawn="1"/>
        </p:nvSpPr>
        <p:spPr>
          <a:xfrm>
            <a:off x="9480376" y="6259894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tx1"/>
                </a:solidFill>
              </a:rPr>
              <a:t> </a:t>
            </a:r>
            <a:endParaRPr lang="en-US" b="0" i="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3560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15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Generic Presentation Cover 2">
    <p:bg>
      <p:bgPr>
        <a:gradFill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A428A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ack and white image of a speaker&#10;&#10;AI-generated content may be incorrect.">
            <a:extLst>
              <a:ext uri="{FF2B5EF4-FFF2-40B4-BE49-F238E27FC236}">
                <a16:creationId xmlns:a16="http://schemas.microsoft.com/office/drawing/2014/main" id="{12263241-7637-2A05-90F3-4DE8124DE9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18661"/>
            <a:ext cx="12192000" cy="6858000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8CA8D34D-3F36-7844-8EBD-70DF717398AD}"/>
              </a:ext>
            </a:extLst>
          </p:cNvPr>
          <p:cNvSpPr txBox="1"/>
          <p:nvPr userDrawn="1"/>
        </p:nvSpPr>
        <p:spPr>
          <a:xfrm>
            <a:off x="6241774" y="-21866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latin typeface="Segoe UI" panose="020B0502040204020203" pitchFamily="34" charset="0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EDB43908-BBF9-7F97-5C38-A035AE5CDB7A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8B381CD-6AD9-C96B-54FC-1BE2841C169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8493" y="440566"/>
            <a:ext cx="3844114" cy="329717"/>
          </a:xfrm>
          <a:prstGeom prst="rect">
            <a:avLst/>
          </a:prstGeom>
        </p:spPr>
        <p:txBody>
          <a:bodyPr tIns="0" rIns="0" bIns="0" anchor="b" anchorCtr="0">
            <a:noAutofit/>
          </a:bodyPr>
          <a:lstStyle>
            <a:lvl1pPr algn="l">
              <a:defRPr sz="2200" b="1" i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dirty="0"/>
              <a:t>Key takeaways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B9D00B6-67E1-4929-316A-5E7450DBA00F}"/>
              </a:ext>
            </a:extLst>
          </p:cNvPr>
          <p:cNvCxnSpPr>
            <a:cxnSpLocks/>
          </p:cNvCxnSpPr>
          <p:nvPr userDrawn="1"/>
        </p:nvCxnSpPr>
        <p:spPr>
          <a:xfrm>
            <a:off x="2306757" y="652345"/>
            <a:ext cx="9359726" cy="0"/>
          </a:xfrm>
          <a:prstGeom prst="line">
            <a:avLst/>
          </a:prstGeom>
          <a:ln w="12700">
            <a:solidFill>
              <a:srgbClr val="D330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3DEB477-243A-A818-5EA5-5E6935D924C1}"/>
              </a:ext>
            </a:extLst>
          </p:cNvPr>
          <p:cNvSpPr/>
          <p:nvPr userDrawn="1"/>
        </p:nvSpPr>
        <p:spPr>
          <a:xfrm>
            <a:off x="0" y="6350493"/>
            <a:ext cx="12216291" cy="514157"/>
          </a:xfrm>
          <a:prstGeom prst="rect">
            <a:avLst/>
          </a:prstGeom>
          <a:gradFill>
            <a:gsLst>
              <a:gs pos="65515">
                <a:srgbClr val="0A2D71"/>
              </a:gs>
              <a:gs pos="43000">
                <a:srgbClr val="002060"/>
              </a:gs>
              <a:gs pos="25000">
                <a:srgbClr val="1A428A"/>
              </a:gs>
              <a:gs pos="0">
                <a:srgbClr val="2A67D6"/>
              </a:gs>
              <a:gs pos="100000">
                <a:srgbClr val="01216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E76E69B-C8D5-A690-7AA1-9CFD5EBAA9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1D3EF1E3-99E9-489B-19D2-EF3D668BFD9C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ECDE98B-5110-BAEC-4489-C619A2C663D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50701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B801E533-CC07-00C5-CBEF-CCBD3F2E17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1502" y="1158225"/>
            <a:ext cx="5614981" cy="4690433"/>
          </a:xfrm>
          <a:prstGeom prst="rect">
            <a:avLst/>
          </a:prstGeom>
        </p:spPr>
        <p:txBody>
          <a:bodyPr lIns="0" tIns="0" rIns="0" bIns="0" anchor="t" anchorCtr="0"/>
          <a:lstStyle>
            <a:lvl1pPr marL="285750" indent="-285750" algn="l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Clr>
                <a:srgbClr val="D3307C"/>
              </a:buClr>
              <a:buFont typeface="Arial" panose="020B0604020202020204" pitchFamily="34" charset="0"/>
              <a:buChar char="•"/>
              <a:defRPr sz="1800" b="0" i="0">
                <a:solidFill>
                  <a:schemeClr val="accent6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/>
            </a:lvl2pPr>
            <a:lvl3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/>
            </a:lvl3pPr>
            <a:lvl4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/>
            </a:lvl4pPr>
            <a:lvl5pPr algn="ctr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9014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15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eneric Presentation Cover 2">
    <p:bg>
      <p:bgPr>
        <a:gradFill flip="none" rotWithShape="1"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A428A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5">
            <a:extLst>
              <a:ext uri="{FF2B5EF4-FFF2-40B4-BE49-F238E27FC236}">
                <a16:creationId xmlns:a16="http://schemas.microsoft.com/office/drawing/2014/main" id="{01C83802-A089-AD4C-32E4-333BF5CB21D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21106" y="0"/>
            <a:ext cx="6182617" cy="6858000"/>
          </a:xfrm>
          <a:prstGeom prst="rect">
            <a:avLst/>
          </a:prstGeom>
          <a:gradFill>
            <a:gsLst>
              <a:gs pos="100000">
                <a:srgbClr val="002060">
                  <a:alpha val="70000"/>
                </a:srgbClr>
              </a:gs>
              <a:gs pos="56000">
                <a:srgbClr val="1A428A"/>
              </a:gs>
              <a:gs pos="0">
                <a:srgbClr val="012161"/>
              </a:gs>
              <a:gs pos="100000">
                <a:srgbClr val="1A428A"/>
              </a:gs>
            </a:gsLst>
            <a:lin ang="10800000" scaled="0"/>
          </a:gra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CA8D34D-3F36-7844-8EBD-70DF717398AD}"/>
              </a:ext>
            </a:extLst>
          </p:cNvPr>
          <p:cNvSpPr txBox="1"/>
          <p:nvPr userDrawn="1"/>
        </p:nvSpPr>
        <p:spPr>
          <a:xfrm>
            <a:off x="6241774" y="-21866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latin typeface="Segoe UI" panose="020B0502040204020203" pitchFamily="34" charset="0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3EBA4FB-AE55-5F0B-5E6C-FDAC62B885E3}"/>
              </a:ext>
            </a:extLst>
          </p:cNvPr>
          <p:cNvSpPr txBox="1">
            <a:spLocks/>
          </p:cNvSpPr>
          <p:nvPr userDrawn="1"/>
        </p:nvSpPr>
        <p:spPr>
          <a:xfrm>
            <a:off x="9480376" y="6259894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/>
              <a:t> </a:t>
            </a:r>
            <a:endParaRPr lang="en-US" b="0" i="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2ADF383-CE69-D7D5-849A-07D442AF04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3754385"/>
            <a:ext cx="5142370" cy="113362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3500" b="1" i="0" spc="0" baseline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Slide break</a:t>
            </a:r>
          </a:p>
          <a:p>
            <a:pPr lvl="0"/>
            <a:r>
              <a:rPr lang="en-US" dirty="0"/>
              <a:t>Title her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A4F6CC5-86A6-491D-6741-9BFE73907A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0987" y="5096812"/>
            <a:ext cx="687327" cy="52059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3200" b="1" i="0">
                <a:solidFill>
                  <a:schemeClr val="accent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1</a:t>
            </a:r>
            <a:endParaRPr lang="en-US" dirty="0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878ACCBF-B836-7F8E-AB29-975C7EA72D16}"/>
              </a:ext>
            </a:extLst>
          </p:cNvPr>
          <p:cNvSpPr/>
          <p:nvPr userDrawn="1"/>
        </p:nvSpPr>
        <p:spPr>
          <a:xfrm rot="5400000">
            <a:off x="-45018" y="3823345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1853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15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">
    <p:bg>
      <p:bgPr>
        <a:gradFill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A428A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25">
            <a:extLst>
              <a:ext uri="{FF2B5EF4-FFF2-40B4-BE49-F238E27FC236}">
                <a16:creationId xmlns:a16="http://schemas.microsoft.com/office/drawing/2014/main" id="{16343903-F699-469E-6337-F856E238C8D2}"/>
              </a:ext>
            </a:extLst>
          </p:cNvPr>
          <p:cNvSpPr>
            <a:spLocks noGrp="1"/>
          </p:cNvSpPr>
          <p:nvPr userDrawn="1">
            <p:ph type="pic" sz="quarter" idx="25" hasCustomPrompt="1"/>
          </p:nvPr>
        </p:nvSpPr>
        <p:spPr>
          <a:xfrm>
            <a:off x="6788024" y="1793514"/>
            <a:ext cx="1775687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34" name="Picture Placeholder 25">
            <a:extLst>
              <a:ext uri="{FF2B5EF4-FFF2-40B4-BE49-F238E27FC236}">
                <a16:creationId xmlns:a16="http://schemas.microsoft.com/office/drawing/2014/main" id="{4289F562-7BAE-BD71-74C4-CE8895726789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1282700" y="1795547"/>
            <a:ext cx="1775687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35" name="Picture Placeholder 25">
            <a:extLst>
              <a:ext uri="{FF2B5EF4-FFF2-40B4-BE49-F238E27FC236}">
                <a16:creationId xmlns:a16="http://schemas.microsoft.com/office/drawing/2014/main" id="{CF8A0ED2-FA95-C7D0-187A-C94B70BF554B}"/>
              </a:ext>
            </a:extLst>
          </p:cNvPr>
          <p:cNvSpPr>
            <a:spLocks noGrp="1"/>
          </p:cNvSpPr>
          <p:nvPr userDrawn="1">
            <p:ph type="pic" sz="quarter" idx="24" hasCustomPrompt="1"/>
          </p:nvPr>
        </p:nvSpPr>
        <p:spPr>
          <a:xfrm>
            <a:off x="4047811" y="1805783"/>
            <a:ext cx="1775687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37" name="Picture Placeholder 25">
            <a:extLst>
              <a:ext uri="{FF2B5EF4-FFF2-40B4-BE49-F238E27FC236}">
                <a16:creationId xmlns:a16="http://schemas.microsoft.com/office/drawing/2014/main" id="{64CA4E3E-3097-AE9B-E952-072BB50240DD}"/>
              </a:ext>
            </a:extLst>
          </p:cNvPr>
          <p:cNvSpPr>
            <a:spLocks noGrp="1"/>
          </p:cNvSpPr>
          <p:nvPr userDrawn="1">
            <p:ph type="pic" sz="quarter" idx="26" hasCustomPrompt="1"/>
          </p:nvPr>
        </p:nvSpPr>
        <p:spPr>
          <a:xfrm>
            <a:off x="9581894" y="1819637"/>
            <a:ext cx="1815525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38" name="Picture Placeholder 25">
            <a:extLst>
              <a:ext uri="{FF2B5EF4-FFF2-40B4-BE49-F238E27FC236}">
                <a16:creationId xmlns:a16="http://schemas.microsoft.com/office/drawing/2014/main" id="{D44DE291-8EDE-BF49-44DD-FE8333537D39}"/>
              </a:ext>
            </a:extLst>
          </p:cNvPr>
          <p:cNvSpPr>
            <a:spLocks noGrp="1"/>
          </p:cNvSpPr>
          <p:nvPr userDrawn="1">
            <p:ph type="pic" sz="quarter" idx="27" hasCustomPrompt="1"/>
          </p:nvPr>
        </p:nvSpPr>
        <p:spPr>
          <a:xfrm>
            <a:off x="1258637" y="3951269"/>
            <a:ext cx="1775687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39" name="Picture Placeholder 25">
            <a:extLst>
              <a:ext uri="{FF2B5EF4-FFF2-40B4-BE49-F238E27FC236}">
                <a16:creationId xmlns:a16="http://schemas.microsoft.com/office/drawing/2014/main" id="{78D524AF-4243-230A-E5E9-3DEC9AA1D31B}"/>
              </a:ext>
            </a:extLst>
          </p:cNvPr>
          <p:cNvSpPr>
            <a:spLocks noGrp="1"/>
          </p:cNvSpPr>
          <p:nvPr userDrawn="1">
            <p:ph type="pic" sz="quarter" idx="28" hasCustomPrompt="1"/>
          </p:nvPr>
        </p:nvSpPr>
        <p:spPr>
          <a:xfrm>
            <a:off x="4047812" y="3961505"/>
            <a:ext cx="1775687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40" name="Picture Placeholder 25">
            <a:extLst>
              <a:ext uri="{FF2B5EF4-FFF2-40B4-BE49-F238E27FC236}">
                <a16:creationId xmlns:a16="http://schemas.microsoft.com/office/drawing/2014/main" id="{F937EA8E-714D-DE41-4C27-8CDA637A72F6}"/>
              </a:ext>
            </a:extLst>
          </p:cNvPr>
          <p:cNvSpPr>
            <a:spLocks noGrp="1"/>
          </p:cNvSpPr>
          <p:nvPr userDrawn="1">
            <p:ph type="pic" sz="quarter" idx="29" hasCustomPrompt="1"/>
          </p:nvPr>
        </p:nvSpPr>
        <p:spPr>
          <a:xfrm>
            <a:off x="6788025" y="3949236"/>
            <a:ext cx="1805157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41" name="Picture Placeholder 25">
            <a:extLst>
              <a:ext uri="{FF2B5EF4-FFF2-40B4-BE49-F238E27FC236}">
                <a16:creationId xmlns:a16="http://schemas.microsoft.com/office/drawing/2014/main" id="{2D1A1831-000D-B53D-92D2-813515F7AFD2}"/>
              </a:ext>
            </a:extLst>
          </p:cNvPr>
          <p:cNvSpPr>
            <a:spLocks noGrp="1"/>
          </p:cNvSpPr>
          <p:nvPr userDrawn="1">
            <p:ph type="pic" sz="quarter" idx="30" hasCustomPrompt="1"/>
          </p:nvPr>
        </p:nvSpPr>
        <p:spPr>
          <a:xfrm>
            <a:off x="9581895" y="3975359"/>
            <a:ext cx="1775687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106AB0C-9D04-1164-A350-9D129CAC9C39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9055" y="460681"/>
            <a:ext cx="2436611" cy="514156"/>
          </a:xfrm>
          <a:prstGeom prst="rect">
            <a:avLst/>
          </a:prstGeom>
        </p:spPr>
        <p:txBody>
          <a:bodyPr tIns="0" rIns="0" bIns="0" anchor="b" anchorCtr="0">
            <a:noAutofit/>
          </a:bodyPr>
          <a:lstStyle>
            <a:lvl1pPr algn="l">
              <a:defRPr sz="32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C9274F9-DB70-1C29-8987-9505621859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2205" y="1784241"/>
            <a:ext cx="626432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1</a:t>
            </a:r>
            <a:endParaRPr lang="en-US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2EAB2033-6219-ADCD-3D11-3247AF62F40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6021" y="3945321"/>
            <a:ext cx="626432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5</a:t>
            </a:r>
            <a:endParaRPr lang="en-US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3C4B8C2-52D2-1388-53AD-95372AE389F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89048" y="1806800"/>
            <a:ext cx="650671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2</a:t>
            </a:r>
            <a:endParaRPr lang="en-US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3135B0D-56C0-41AC-41B9-24A840DC2DD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97140" y="3959788"/>
            <a:ext cx="631958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6</a:t>
            </a:r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79B3814-DD70-007E-3CD0-8EC70B96544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25864" y="1790616"/>
            <a:ext cx="650671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3</a:t>
            </a:r>
            <a:endParaRPr lang="en-US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2024C548-0E91-6F27-FBD5-EA022DB4AFA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58232" y="3951696"/>
            <a:ext cx="621838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7</a:t>
            </a:r>
            <a:endParaRPr lang="en-US" dirty="0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42072676-0267-387B-F59E-706D00985D2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915557" y="1819637"/>
            <a:ext cx="644821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4</a:t>
            </a:r>
            <a:endParaRPr lang="en-US" dirty="0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F0D3DC0C-4A87-AFD9-81D5-859B895151A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15557" y="3980717"/>
            <a:ext cx="644821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8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153ECE3-2348-2664-7B4D-6CABC7D0BFF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780070" y="2760288"/>
            <a:ext cx="1794397" cy="443552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1B8EC323-5730-F50F-71D9-4BD8EFFFFF9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047812" y="2781404"/>
            <a:ext cx="1794397" cy="431126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60F9051-6507-CDB4-1904-50E62DF78F9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282700" y="2772712"/>
            <a:ext cx="1775687" cy="431127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87F5E682-7952-01ED-8A41-A2805E65474C}"/>
              </a:ext>
            </a:extLst>
          </p:cNvPr>
          <p:cNvSpPr/>
          <p:nvPr userDrawn="1"/>
        </p:nvSpPr>
        <p:spPr>
          <a:xfrm rot="5400000">
            <a:off x="-45018" y="6455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EC6C2A3-B7FF-2D8D-21BE-856A23D064C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282699" y="3231150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A0EF8E8-8B22-F781-B7C4-A8E83F788F2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057166" y="3231150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6AD64D1-F281-2584-4777-8F1161BCB6E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802758" y="3231150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E5A4B97E-2194-3BDD-29B7-2829D6A8C03D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597316" y="2784845"/>
            <a:ext cx="1794397" cy="443552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5D542C42-6C59-E40F-5D0D-DD41BDAEC39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20004" y="3255707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A4E15434-43F1-A4F0-6111-B6293640609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794807" y="4917214"/>
            <a:ext cx="1794397" cy="443552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3C56692-18ED-8A7C-F46D-A7F37A82A04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028929" y="4938330"/>
            <a:ext cx="1794397" cy="431126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1061C73B-83AF-D527-72EA-6C52AD69D1C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257093" y="4922914"/>
            <a:ext cx="1775687" cy="431127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8EE41FD1-771A-05B3-EDB4-EE8FC7F3CE2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257092" y="5381352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30D22D5-6454-B1B6-856F-91AC60E62D0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051731" y="5388076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5FD68935-1396-27DB-BD3B-1B4589C2389E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804047" y="5381352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5F66FFC2-C342-8CEF-2BDA-C66CF806785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585157" y="4955219"/>
            <a:ext cx="1794397" cy="443552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C54F7121-6EB6-27DF-0EBA-13A13E338F97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594397" y="5426081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289DF65-3074-739E-F4C9-D8EFE74AC72D}"/>
              </a:ext>
            </a:extLst>
          </p:cNvPr>
          <p:cNvCxnSpPr>
            <a:cxnSpLocks/>
          </p:cNvCxnSpPr>
          <p:nvPr userDrawn="1"/>
        </p:nvCxnSpPr>
        <p:spPr>
          <a:xfrm>
            <a:off x="2627194" y="816118"/>
            <a:ext cx="8730388" cy="0"/>
          </a:xfrm>
          <a:prstGeom prst="line">
            <a:avLst/>
          </a:prstGeom>
          <a:ln w="12700">
            <a:solidFill>
              <a:srgbClr val="D330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Slide Number Placeholder 5">
            <a:extLst>
              <a:ext uri="{FF2B5EF4-FFF2-40B4-BE49-F238E27FC236}">
                <a16:creationId xmlns:a16="http://schemas.microsoft.com/office/drawing/2014/main" id="{ED94175D-CF72-98EE-F3EA-FFE772D9AEF3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5793997C-7983-ED42-BCE5-2D9A698517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CD6539-F76E-5A02-851A-A198947892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798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881" userDrawn="1">
          <p15:clr>
            <a:srgbClr val="FBAE40"/>
          </p15:clr>
        </p15:guide>
        <p15:guide id="6" pos="2162" userDrawn="1">
          <p15:clr>
            <a:srgbClr val="FBAE40"/>
          </p15:clr>
        </p15:guide>
        <p15:guide id="7" pos="347" userDrawn="1">
          <p15:clr>
            <a:srgbClr val="FBAE40"/>
          </p15:clr>
        </p15:guide>
        <p15:guide id="8" pos="4067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CBAFBD32-A05E-4A02-4664-0E1D96AAC1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056" y="499593"/>
            <a:ext cx="1834366" cy="514156"/>
          </a:xfrm>
          <a:prstGeom prst="rect">
            <a:avLst/>
          </a:prstGeom>
        </p:spPr>
        <p:txBody>
          <a:bodyPr tIns="0" rIns="0" bIns="0" anchor="b" anchorCtr="0">
            <a:noAutofit/>
          </a:bodyPr>
          <a:lstStyle>
            <a:lvl1pPr algn="l">
              <a:defRPr sz="3200" b="1" i="0">
                <a:solidFill>
                  <a:srgbClr val="002265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59" name="Isosceles Triangle 58">
            <a:extLst>
              <a:ext uri="{FF2B5EF4-FFF2-40B4-BE49-F238E27FC236}">
                <a16:creationId xmlns:a16="http://schemas.microsoft.com/office/drawing/2014/main" id="{FFD10A28-88FF-174A-21C4-CE2A4DFA7C10}"/>
              </a:ext>
            </a:extLst>
          </p:cNvPr>
          <p:cNvSpPr/>
          <p:nvPr userDrawn="1"/>
        </p:nvSpPr>
        <p:spPr>
          <a:xfrm rot="5400000">
            <a:off x="-45018" y="6455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Picture Placeholder 25">
            <a:extLst>
              <a:ext uri="{FF2B5EF4-FFF2-40B4-BE49-F238E27FC236}">
                <a16:creationId xmlns:a16="http://schemas.microsoft.com/office/drawing/2014/main" id="{A975970A-5AA6-CFC7-1478-20D97AA296D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788024" y="1793514"/>
            <a:ext cx="1775687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66" name="Picture Placeholder 25">
            <a:extLst>
              <a:ext uri="{FF2B5EF4-FFF2-40B4-BE49-F238E27FC236}">
                <a16:creationId xmlns:a16="http://schemas.microsoft.com/office/drawing/2014/main" id="{54A4206A-3373-9D35-72A7-9BDAB75CE5A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82700" y="1795547"/>
            <a:ext cx="1775687" cy="9545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67" name="Picture Placeholder 25">
            <a:extLst>
              <a:ext uri="{FF2B5EF4-FFF2-40B4-BE49-F238E27FC236}">
                <a16:creationId xmlns:a16="http://schemas.microsoft.com/office/drawing/2014/main" id="{D4F8B83C-EB96-0E9A-2521-6A0064E88FB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047811" y="1805783"/>
            <a:ext cx="1775687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68" name="Picture Placeholder 25">
            <a:extLst>
              <a:ext uri="{FF2B5EF4-FFF2-40B4-BE49-F238E27FC236}">
                <a16:creationId xmlns:a16="http://schemas.microsoft.com/office/drawing/2014/main" id="{C3AB79EE-A404-8073-5168-4B46307E199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81894" y="1819637"/>
            <a:ext cx="1815525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69" name="Picture Placeholder 25">
            <a:extLst>
              <a:ext uri="{FF2B5EF4-FFF2-40B4-BE49-F238E27FC236}">
                <a16:creationId xmlns:a16="http://schemas.microsoft.com/office/drawing/2014/main" id="{12C76AB6-0F49-F333-A3F9-976DC80C455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258637" y="3951269"/>
            <a:ext cx="1775687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70" name="Picture Placeholder 25">
            <a:extLst>
              <a:ext uri="{FF2B5EF4-FFF2-40B4-BE49-F238E27FC236}">
                <a16:creationId xmlns:a16="http://schemas.microsoft.com/office/drawing/2014/main" id="{6E99C3F8-71BB-4204-0010-433793408B1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047812" y="3961505"/>
            <a:ext cx="1775687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71" name="Picture Placeholder 25">
            <a:extLst>
              <a:ext uri="{FF2B5EF4-FFF2-40B4-BE49-F238E27FC236}">
                <a16:creationId xmlns:a16="http://schemas.microsoft.com/office/drawing/2014/main" id="{5FE18CBA-B5E0-512A-259B-EE87B2F83CB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788025" y="3949236"/>
            <a:ext cx="1805157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72" name="Picture Placeholder 25">
            <a:extLst>
              <a:ext uri="{FF2B5EF4-FFF2-40B4-BE49-F238E27FC236}">
                <a16:creationId xmlns:a16="http://schemas.microsoft.com/office/drawing/2014/main" id="{452ED204-D5E0-C9DE-4C5D-6BF21541D61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581895" y="3975359"/>
            <a:ext cx="1775687" cy="9545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image</a:t>
            </a:r>
            <a:endParaRPr lang="en-GB" dirty="0"/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09534992-5678-64CF-EF88-74F87ACA5D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2205" y="1784241"/>
            <a:ext cx="626432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1</a:t>
            </a:r>
            <a:endParaRPr lang="en-US" dirty="0"/>
          </a:p>
        </p:txBody>
      </p:sp>
      <p:sp>
        <p:nvSpPr>
          <p:cNvPr id="74" name="Text Placeholder 5">
            <a:extLst>
              <a:ext uri="{FF2B5EF4-FFF2-40B4-BE49-F238E27FC236}">
                <a16:creationId xmlns:a16="http://schemas.microsoft.com/office/drawing/2014/main" id="{C8895915-D79D-3F7D-F35C-38EB306C62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6021" y="3945321"/>
            <a:ext cx="626432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5</a:t>
            </a:r>
            <a:endParaRPr lang="en-US" dirty="0"/>
          </a:p>
        </p:txBody>
      </p:sp>
      <p:sp>
        <p:nvSpPr>
          <p:cNvPr id="75" name="Text Placeholder 5">
            <a:extLst>
              <a:ext uri="{FF2B5EF4-FFF2-40B4-BE49-F238E27FC236}">
                <a16:creationId xmlns:a16="http://schemas.microsoft.com/office/drawing/2014/main" id="{0BE40212-C17B-E6F2-FA92-594E6DEAC47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89048" y="1806800"/>
            <a:ext cx="650671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2</a:t>
            </a:r>
            <a:endParaRPr lang="en-US" dirty="0"/>
          </a:p>
        </p:txBody>
      </p:sp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B5492CEA-128D-0A1A-AC10-142B7D19CFF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97140" y="3959788"/>
            <a:ext cx="631958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6</a:t>
            </a:r>
            <a:endParaRPr lang="en-US" dirty="0"/>
          </a:p>
        </p:txBody>
      </p:sp>
      <p:sp>
        <p:nvSpPr>
          <p:cNvPr id="77" name="Text Placeholder 5">
            <a:extLst>
              <a:ext uri="{FF2B5EF4-FFF2-40B4-BE49-F238E27FC236}">
                <a16:creationId xmlns:a16="http://schemas.microsoft.com/office/drawing/2014/main" id="{BC7C6D00-ED53-04C1-1966-C4A5AF7657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25864" y="1790616"/>
            <a:ext cx="650671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3</a:t>
            </a:r>
            <a:endParaRPr lang="en-US" dirty="0"/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82FC41E9-5764-7FA9-1D6A-A926DEADDCE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58232" y="3951696"/>
            <a:ext cx="621838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7</a:t>
            </a:r>
            <a:endParaRPr lang="en-US" dirty="0"/>
          </a:p>
        </p:txBody>
      </p:sp>
      <p:sp>
        <p:nvSpPr>
          <p:cNvPr id="79" name="Text Placeholder 5">
            <a:extLst>
              <a:ext uri="{FF2B5EF4-FFF2-40B4-BE49-F238E27FC236}">
                <a16:creationId xmlns:a16="http://schemas.microsoft.com/office/drawing/2014/main" id="{62041A7C-05EE-8FCB-BDC0-FD548A3A5E4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915557" y="1819637"/>
            <a:ext cx="644821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4</a:t>
            </a:r>
            <a:endParaRPr lang="en-US" dirty="0"/>
          </a:p>
        </p:txBody>
      </p:sp>
      <p:sp>
        <p:nvSpPr>
          <p:cNvPr id="80" name="Text Placeholder 5">
            <a:extLst>
              <a:ext uri="{FF2B5EF4-FFF2-40B4-BE49-F238E27FC236}">
                <a16:creationId xmlns:a16="http://schemas.microsoft.com/office/drawing/2014/main" id="{2F030CE2-B82D-7C65-6DB1-0F96782E1D6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15557" y="3980717"/>
            <a:ext cx="644821" cy="520590"/>
          </a:xfrm>
          <a:prstGeom prst="rect">
            <a:avLst/>
          </a:prstGeom>
        </p:spPr>
        <p:txBody>
          <a:bodyPr anchor="b" anchorCtr="0"/>
          <a:lstStyle>
            <a:lvl1pPr>
              <a:buNone/>
              <a:defRPr sz="3000" b="1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  <a:lvl2pPr>
              <a:buNone/>
              <a:defRPr sz="5400"/>
            </a:lvl2pPr>
            <a:lvl3pPr>
              <a:buNone/>
              <a:defRPr sz="5400"/>
            </a:lvl3pPr>
            <a:lvl4pPr>
              <a:buNone/>
              <a:defRPr sz="5400"/>
            </a:lvl4pPr>
            <a:lvl5pPr>
              <a:buNone/>
              <a:defRPr sz="5400"/>
            </a:lvl5pPr>
          </a:lstStyle>
          <a:p>
            <a:pPr lvl="0"/>
            <a:r>
              <a:rPr lang="en-GB" dirty="0"/>
              <a:t>08</a:t>
            </a:r>
            <a:endParaRPr lang="en-US" dirty="0"/>
          </a:p>
        </p:txBody>
      </p:sp>
      <p:sp>
        <p:nvSpPr>
          <p:cNvPr id="81" name="Text Placeholder 6">
            <a:extLst>
              <a:ext uri="{FF2B5EF4-FFF2-40B4-BE49-F238E27FC236}">
                <a16:creationId xmlns:a16="http://schemas.microsoft.com/office/drawing/2014/main" id="{8F8244D5-297A-F8B3-B849-540D6B6BBF2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780070" y="2760288"/>
            <a:ext cx="1794397" cy="443552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82" name="Text Placeholder 6">
            <a:extLst>
              <a:ext uri="{FF2B5EF4-FFF2-40B4-BE49-F238E27FC236}">
                <a16:creationId xmlns:a16="http://schemas.microsoft.com/office/drawing/2014/main" id="{071AD2FB-8E15-3942-54DF-A22877B0D71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047812" y="2781404"/>
            <a:ext cx="1794397" cy="431126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83" name="Text Placeholder 6">
            <a:extLst>
              <a:ext uri="{FF2B5EF4-FFF2-40B4-BE49-F238E27FC236}">
                <a16:creationId xmlns:a16="http://schemas.microsoft.com/office/drawing/2014/main" id="{3F5F5E29-946D-A85C-6FB7-B641598E5B8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282700" y="2772712"/>
            <a:ext cx="1775687" cy="431127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84" name="Text Placeholder 6">
            <a:extLst>
              <a:ext uri="{FF2B5EF4-FFF2-40B4-BE49-F238E27FC236}">
                <a16:creationId xmlns:a16="http://schemas.microsoft.com/office/drawing/2014/main" id="{BC9515AB-ABA1-DCF5-0654-B5E8C351C8A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282699" y="3231150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C1B3658B-361B-2F5D-80AD-DA12D26B46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057166" y="3231150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7D6168D7-0D02-D2EE-94C9-9EE6E3A66E5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802758" y="3231150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87" name="Text Placeholder 6">
            <a:extLst>
              <a:ext uri="{FF2B5EF4-FFF2-40B4-BE49-F238E27FC236}">
                <a16:creationId xmlns:a16="http://schemas.microsoft.com/office/drawing/2014/main" id="{413E49C7-85E8-BEC9-99CE-3BCAD60AA01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597316" y="2784845"/>
            <a:ext cx="1794397" cy="443552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60E380FF-03AB-DDF5-9769-2A1F2443DE7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20004" y="3255707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89" name="Text Placeholder 6">
            <a:extLst>
              <a:ext uri="{FF2B5EF4-FFF2-40B4-BE49-F238E27FC236}">
                <a16:creationId xmlns:a16="http://schemas.microsoft.com/office/drawing/2014/main" id="{746808D5-B489-E6DD-A647-054D9E79AD0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794807" y="4917214"/>
            <a:ext cx="1794397" cy="443552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90" name="Text Placeholder 6">
            <a:extLst>
              <a:ext uri="{FF2B5EF4-FFF2-40B4-BE49-F238E27FC236}">
                <a16:creationId xmlns:a16="http://schemas.microsoft.com/office/drawing/2014/main" id="{D5E9C21C-DC5B-C395-C1B5-1015946D66E5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028929" y="4938330"/>
            <a:ext cx="1794397" cy="431126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91" name="Text Placeholder 6">
            <a:extLst>
              <a:ext uri="{FF2B5EF4-FFF2-40B4-BE49-F238E27FC236}">
                <a16:creationId xmlns:a16="http://schemas.microsoft.com/office/drawing/2014/main" id="{E7B19AC5-688B-1E2A-D00D-A41D90663BB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257093" y="4922914"/>
            <a:ext cx="1775687" cy="431127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93FC98EC-8EB5-5D2E-BAAA-4D3A64BA127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257092" y="5381352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93" name="Text Placeholder 6">
            <a:extLst>
              <a:ext uri="{FF2B5EF4-FFF2-40B4-BE49-F238E27FC236}">
                <a16:creationId xmlns:a16="http://schemas.microsoft.com/office/drawing/2014/main" id="{11772B4B-9EB9-0FF0-BFE7-FC0C43CE7B7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051731" y="5388076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94" name="Text Placeholder 6">
            <a:extLst>
              <a:ext uri="{FF2B5EF4-FFF2-40B4-BE49-F238E27FC236}">
                <a16:creationId xmlns:a16="http://schemas.microsoft.com/office/drawing/2014/main" id="{B56F5707-7F74-EF1E-2B2A-5F79A2CA80C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804047" y="5381352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sp>
        <p:nvSpPr>
          <p:cNvPr id="95" name="Text Placeholder 6">
            <a:extLst>
              <a:ext uri="{FF2B5EF4-FFF2-40B4-BE49-F238E27FC236}">
                <a16:creationId xmlns:a16="http://schemas.microsoft.com/office/drawing/2014/main" id="{DE55BEF9-1061-6984-2086-70E95BCC4B1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585157" y="4955219"/>
            <a:ext cx="1794397" cy="443552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section title here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CDC85D10-EC36-A6C3-3788-A8BCCFA42D9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594397" y="5426081"/>
            <a:ext cx="1775687" cy="266331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400" b="0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Page number her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5E4880D-16E9-4BBA-E992-AEF32B71B345}"/>
              </a:ext>
            </a:extLst>
          </p:cNvPr>
          <p:cNvCxnSpPr>
            <a:cxnSpLocks/>
          </p:cNvCxnSpPr>
          <p:nvPr userDrawn="1"/>
        </p:nvCxnSpPr>
        <p:spPr>
          <a:xfrm>
            <a:off x="2627194" y="816118"/>
            <a:ext cx="8730388" cy="0"/>
          </a:xfrm>
          <a:prstGeom prst="line">
            <a:avLst/>
          </a:prstGeom>
          <a:ln w="12700">
            <a:solidFill>
              <a:srgbClr val="D330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96289AF-E8A9-27AA-5BCA-52864088F0C5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tx1"/>
                </a:solidFill>
              </a:rPr>
              <a:t> </a:t>
            </a:r>
            <a:endParaRPr lang="en-US" b="0" i="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3F0C084-2274-DF43-65F8-8EE41714828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3" name="Picture 2" descr="A blue and black logo&#10;&#10;Description automatically generated">
            <a:extLst>
              <a:ext uri="{FF2B5EF4-FFF2-40B4-BE49-F238E27FC236}">
                <a16:creationId xmlns:a16="http://schemas.microsoft.com/office/drawing/2014/main" id="{AE1A21D1-9681-7DC8-F994-92CD3B6A5D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5011" y="6459579"/>
            <a:ext cx="788054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353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881" userDrawn="1">
          <p15:clr>
            <a:srgbClr val="FBAE40"/>
          </p15:clr>
        </p15:guide>
        <p15:guide id="6" pos="2162" userDrawn="1">
          <p15:clr>
            <a:srgbClr val="FBAE40"/>
          </p15:clr>
        </p15:guide>
        <p15:guide id="7" pos="347" userDrawn="1">
          <p15:clr>
            <a:srgbClr val="FBAE40"/>
          </p15:clr>
        </p15:guide>
        <p15:guide id="8" pos="4067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1 -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5A715E6-759A-5CF3-EA99-74A755628E98}"/>
              </a:ext>
            </a:extLst>
          </p:cNvPr>
          <p:cNvSpPr/>
          <p:nvPr userDrawn="1"/>
        </p:nvSpPr>
        <p:spPr>
          <a:xfrm>
            <a:off x="6150665" y="0"/>
            <a:ext cx="6036604" cy="6858000"/>
          </a:xfrm>
          <a:prstGeom prst="rect">
            <a:avLst/>
          </a:prstGeom>
          <a:gradFill>
            <a:gsLst>
              <a:gs pos="0">
                <a:srgbClr val="1E4C9E"/>
              </a:gs>
              <a:gs pos="27000">
                <a:srgbClr val="1C4A99"/>
              </a:gs>
              <a:gs pos="83000">
                <a:srgbClr val="052C5B"/>
              </a:gs>
              <a:gs pos="100000">
                <a:srgbClr val="052C5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438A336-9612-094F-A0DC-0CB72B4940A5}"/>
              </a:ext>
            </a:extLst>
          </p:cNvPr>
          <p:cNvSpPr txBox="1"/>
          <p:nvPr userDrawn="1"/>
        </p:nvSpPr>
        <p:spPr>
          <a:xfrm>
            <a:off x="6575612" y="8068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1FFB863B-50F8-E13C-E9E8-53F8B83FDD9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6497767" y="898205"/>
            <a:ext cx="5316791" cy="23556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9" name="Chart Placeholder 4">
            <a:extLst>
              <a:ext uri="{FF2B5EF4-FFF2-40B4-BE49-F238E27FC236}">
                <a16:creationId xmlns:a16="http://schemas.microsoft.com/office/drawing/2014/main" id="{A17156F7-264A-EEF1-5004-7DF956B9EFA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6472330" y="3580113"/>
            <a:ext cx="5316791" cy="23556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364D5121-C8EA-55C2-2363-026E10F842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5730" y="1758962"/>
            <a:ext cx="5596105" cy="4176802"/>
          </a:xfrm>
          <a:prstGeom prst="rect">
            <a:avLst/>
          </a:prstGeom>
        </p:spPr>
        <p:txBody>
          <a:bodyPr lIns="0"/>
          <a:lstStyle>
            <a:lvl1pPr marL="100012" indent="-285750">
              <a:spcBef>
                <a:spcPts val="0"/>
              </a:spcBef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>
                <a:solidFill>
                  <a:schemeClr val="accent6"/>
                </a:solidFill>
              </a:defRPr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1"/>
            <a:r>
              <a:rPr lang="en-GB" dirty="0"/>
              <a:t>Add a paragraph of text here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2EF69A0-E792-41B2-80E0-F0C4157152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450014"/>
            <a:ext cx="5142370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2200" b="1" i="0" spc="0" baseline="0">
                <a:solidFill>
                  <a:srgbClr val="00206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4" name="Text Placeholder 32">
            <a:extLst>
              <a:ext uri="{FF2B5EF4-FFF2-40B4-BE49-F238E27FC236}">
                <a16:creationId xmlns:a16="http://schemas.microsoft.com/office/drawing/2014/main" id="{D3910021-C736-64EC-A562-62AD413482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159" y="957509"/>
            <a:ext cx="5128628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rgbClr val="002265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Main finding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334EADCB-4593-63C0-FDFF-FB8940F55C11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BB9A1B1F-2E67-5B76-F2AE-3BB92FA91C3A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50E43DD-AA94-6EAF-0AE6-4528AAC3D8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350091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EE5E8B0-25EC-BB15-59BC-F12AB1555AB3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Picture 6" descr="A blue and black logo&#10;&#10;Description automatically generated">
            <a:extLst>
              <a:ext uri="{FF2B5EF4-FFF2-40B4-BE49-F238E27FC236}">
                <a16:creationId xmlns:a16="http://schemas.microsoft.com/office/drawing/2014/main" id="{CACDCF46-88DC-0BDB-1ED9-FC10FAA121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5011" y="6459579"/>
            <a:ext cx="788054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817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orient="horz" pos="255" userDrawn="1">
          <p15:clr>
            <a:srgbClr val="FBAE40"/>
          </p15:clr>
        </p15:guide>
        <p15:guide id="4" orient="horz" pos="415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37AA769-398D-A1B2-5732-B29E23BCBF1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13" r="13"/>
          <a:stretch/>
        </p:blipFill>
        <p:spPr>
          <a:xfrm>
            <a:off x="-1" y="0"/>
            <a:ext cx="12188824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3176" y="5268118"/>
            <a:ext cx="12188824" cy="1621166"/>
          </a:xfrm>
          <a:prstGeom prst="rect">
            <a:avLst/>
          </a:prstGeom>
          <a:gradFill>
            <a:gsLst>
              <a:gs pos="100000">
                <a:srgbClr val="002060"/>
              </a:gs>
              <a:gs pos="56000">
                <a:srgbClr val="1A428A"/>
              </a:gs>
              <a:gs pos="0">
                <a:srgbClr val="012161"/>
              </a:gs>
              <a:gs pos="100000">
                <a:srgbClr val="1A428A"/>
              </a:gs>
            </a:gsLst>
            <a:lin ang="10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593059" y="554183"/>
            <a:ext cx="8125200" cy="5787100"/>
          </a:xfrm>
          <a:prstGeom prst="rect">
            <a:avLst/>
          </a:prstGeom>
          <a:gradFill flip="none" rotWithShape="1">
            <a:gsLst>
              <a:gs pos="0">
                <a:srgbClr val="2256B4"/>
              </a:gs>
              <a:gs pos="100000">
                <a:srgbClr val="012161"/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6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684951"/>
            <a:ext cx="3778436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additional info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79537" y="3477316"/>
            <a:ext cx="7194787" cy="117310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defRPr sz="3500" b="1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Enter the </a:t>
            </a:r>
            <a:br>
              <a:rPr lang="en-US" dirty="0"/>
            </a:br>
            <a:r>
              <a:rPr lang="en-US" dirty="0"/>
              <a:t>title he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8CB726F-C7B7-1D5B-DD90-693496F2E17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09819" y="949963"/>
            <a:ext cx="1926006" cy="722252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06AF17E5-2671-201E-701D-BAA48226DF5E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8810624" y="5781997"/>
            <a:ext cx="2949815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0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8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echoresearch.com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3F3B38-9B75-2DA1-1220-5F3C319E754D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4787476" y="5672630"/>
            <a:ext cx="3778436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0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8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5071733" y="949963"/>
            <a:ext cx="3381153" cy="722252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ent Logo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DBA497C2-03F0-9EC9-994A-03993F6345A2}"/>
              </a:ext>
            </a:extLst>
          </p:cNvPr>
          <p:cNvSpPr/>
          <p:nvPr userDrawn="1"/>
        </p:nvSpPr>
        <p:spPr>
          <a:xfrm rot="5400000">
            <a:off x="-45018" y="3762335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0094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page 1 -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5A715E6-759A-5CF3-EA99-74A755628E98}"/>
              </a:ext>
            </a:extLst>
          </p:cNvPr>
          <p:cNvSpPr/>
          <p:nvPr userDrawn="1"/>
        </p:nvSpPr>
        <p:spPr>
          <a:xfrm>
            <a:off x="0" y="0"/>
            <a:ext cx="6166163" cy="6858000"/>
          </a:xfrm>
          <a:prstGeom prst="rect">
            <a:avLst/>
          </a:prstGeom>
          <a:gradFill>
            <a:gsLst>
              <a:gs pos="0">
                <a:srgbClr val="1E4C9E"/>
              </a:gs>
              <a:gs pos="27000">
                <a:srgbClr val="1C4A99"/>
              </a:gs>
              <a:gs pos="83000">
                <a:srgbClr val="052C5B"/>
              </a:gs>
              <a:gs pos="100000">
                <a:srgbClr val="052C5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438A336-9612-094F-A0DC-0CB72B4940A5}"/>
              </a:ext>
            </a:extLst>
          </p:cNvPr>
          <p:cNvSpPr txBox="1"/>
          <p:nvPr userDrawn="1"/>
        </p:nvSpPr>
        <p:spPr>
          <a:xfrm>
            <a:off x="6575612" y="8068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1FFB863B-50F8-E13C-E9E8-53F8B83FDD9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6497767" y="898205"/>
            <a:ext cx="5316791" cy="23556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9" name="Chart Placeholder 4">
            <a:extLst>
              <a:ext uri="{FF2B5EF4-FFF2-40B4-BE49-F238E27FC236}">
                <a16:creationId xmlns:a16="http://schemas.microsoft.com/office/drawing/2014/main" id="{A17156F7-264A-EEF1-5004-7DF956B9EFA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6472330" y="3580113"/>
            <a:ext cx="5316791" cy="23556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364D5121-C8EA-55C2-2363-026E10F842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6050" y="1758962"/>
            <a:ext cx="5142370" cy="4176802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a paragraph of text here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2EF69A0-E792-41B2-80E0-F0C4157152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450014"/>
            <a:ext cx="5142370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4" name="Text Placeholder 32">
            <a:extLst>
              <a:ext uri="{FF2B5EF4-FFF2-40B4-BE49-F238E27FC236}">
                <a16:creationId xmlns:a16="http://schemas.microsoft.com/office/drawing/2014/main" id="{D3910021-C736-64EC-A562-62AD413482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159" y="957509"/>
            <a:ext cx="5128628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Main finding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369D9B68-70F0-67EA-A4D3-B76825F986CB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2478A0F-B969-7C03-FFA2-18D3FC8C4682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tx1"/>
                </a:solidFill>
              </a:rPr>
              <a:t> </a:t>
            </a:r>
            <a:endParaRPr lang="en-US" b="0" i="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03E5058-F9F3-FCBF-FB10-E61B328DCB0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47D6A2D-023C-AA08-E484-D5B9BD7C9E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114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orient="horz" pos="255" userDrawn="1">
          <p15:clr>
            <a:srgbClr val="FBAE40"/>
          </p15:clr>
        </p15:guide>
        <p15:guide id="4" orient="horz" pos="4156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page 1 -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5A715E6-759A-5CF3-EA99-74A755628E98}"/>
              </a:ext>
            </a:extLst>
          </p:cNvPr>
          <p:cNvSpPr/>
          <p:nvPr userDrawn="1"/>
        </p:nvSpPr>
        <p:spPr>
          <a:xfrm>
            <a:off x="1" y="0"/>
            <a:ext cx="12192000" cy="6857999"/>
          </a:xfrm>
          <a:prstGeom prst="rect">
            <a:avLst/>
          </a:prstGeom>
          <a:gradFill>
            <a:gsLst>
              <a:gs pos="0">
                <a:srgbClr val="1E4C9E"/>
              </a:gs>
              <a:gs pos="27000">
                <a:srgbClr val="1C4A99"/>
              </a:gs>
              <a:gs pos="83000">
                <a:srgbClr val="052C5B"/>
              </a:gs>
              <a:gs pos="100000">
                <a:srgbClr val="052C5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438A336-9612-094F-A0DC-0CB72B4940A5}"/>
              </a:ext>
            </a:extLst>
          </p:cNvPr>
          <p:cNvSpPr txBox="1"/>
          <p:nvPr userDrawn="1"/>
        </p:nvSpPr>
        <p:spPr>
          <a:xfrm>
            <a:off x="6575612" y="8068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2EF69A0-E792-41B2-80E0-F0C4157152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450014"/>
            <a:ext cx="11193164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32">
            <a:extLst>
              <a:ext uri="{FF2B5EF4-FFF2-40B4-BE49-F238E27FC236}">
                <a16:creationId xmlns:a16="http://schemas.microsoft.com/office/drawing/2014/main" id="{D3910021-C736-64EC-A562-62AD413482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159" y="957509"/>
            <a:ext cx="11163252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Main find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81F209-1398-8F40-E1B0-7C022D5A8689}"/>
              </a:ext>
            </a:extLst>
          </p:cNvPr>
          <p:cNvSpPr/>
          <p:nvPr userDrawn="1"/>
        </p:nvSpPr>
        <p:spPr>
          <a:xfrm>
            <a:off x="4302283" y="1574427"/>
            <a:ext cx="3680553" cy="2127250"/>
          </a:xfrm>
          <a:prstGeom prst="rect">
            <a:avLst/>
          </a:prstGeom>
          <a:solidFill>
            <a:schemeClr val="bg1"/>
          </a:solidFill>
          <a:ln w="25400">
            <a:solidFill>
              <a:srgbClr val="1A4793">
                <a:alpha val="99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2D2CE29-3898-8773-57A3-E2878439B958}"/>
              </a:ext>
            </a:extLst>
          </p:cNvPr>
          <p:cNvSpPr/>
          <p:nvPr userDrawn="1"/>
        </p:nvSpPr>
        <p:spPr>
          <a:xfrm>
            <a:off x="513406" y="1574427"/>
            <a:ext cx="3680553" cy="2127250"/>
          </a:xfrm>
          <a:prstGeom prst="rect">
            <a:avLst/>
          </a:prstGeom>
          <a:solidFill>
            <a:schemeClr val="bg1"/>
          </a:solidFill>
          <a:ln w="25400">
            <a:solidFill>
              <a:srgbClr val="1A4793">
                <a:alpha val="99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270E653-0AC4-2B71-84B4-32C15A759CB1}"/>
              </a:ext>
            </a:extLst>
          </p:cNvPr>
          <p:cNvSpPr/>
          <p:nvPr userDrawn="1"/>
        </p:nvSpPr>
        <p:spPr>
          <a:xfrm>
            <a:off x="8078757" y="1574427"/>
            <a:ext cx="3680553" cy="2127250"/>
          </a:xfrm>
          <a:prstGeom prst="rect">
            <a:avLst/>
          </a:prstGeom>
          <a:solidFill>
            <a:schemeClr val="bg1"/>
          </a:solidFill>
          <a:ln w="25400">
            <a:solidFill>
              <a:srgbClr val="1A4793">
                <a:alpha val="99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2EC7191-2DEF-D674-889D-292A42AF7D46}"/>
              </a:ext>
            </a:extLst>
          </p:cNvPr>
          <p:cNvSpPr/>
          <p:nvPr userDrawn="1"/>
        </p:nvSpPr>
        <p:spPr>
          <a:xfrm>
            <a:off x="4302766" y="3798841"/>
            <a:ext cx="3680553" cy="2127250"/>
          </a:xfrm>
          <a:prstGeom prst="rect">
            <a:avLst/>
          </a:prstGeom>
          <a:solidFill>
            <a:schemeClr val="bg1"/>
          </a:solidFill>
          <a:ln w="25400">
            <a:solidFill>
              <a:srgbClr val="1A479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BC4E2A2-1ED4-3821-1A97-9AF28255EF05}"/>
              </a:ext>
            </a:extLst>
          </p:cNvPr>
          <p:cNvSpPr/>
          <p:nvPr userDrawn="1"/>
        </p:nvSpPr>
        <p:spPr>
          <a:xfrm>
            <a:off x="513407" y="3798841"/>
            <a:ext cx="3695932" cy="2127250"/>
          </a:xfrm>
          <a:prstGeom prst="rect">
            <a:avLst/>
          </a:prstGeom>
          <a:solidFill>
            <a:schemeClr val="bg1"/>
          </a:solidFill>
          <a:ln w="25400">
            <a:solidFill>
              <a:srgbClr val="1A479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9FB5FC0-652D-98E6-E0F6-C778D22672AA}"/>
              </a:ext>
            </a:extLst>
          </p:cNvPr>
          <p:cNvSpPr/>
          <p:nvPr userDrawn="1"/>
        </p:nvSpPr>
        <p:spPr>
          <a:xfrm>
            <a:off x="8088526" y="3798841"/>
            <a:ext cx="3680553" cy="2127250"/>
          </a:xfrm>
          <a:prstGeom prst="rect">
            <a:avLst/>
          </a:prstGeom>
          <a:solidFill>
            <a:schemeClr val="bg1"/>
          </a:solidFill>
          <a:ln w="25400">
            <a:solidFill>
              <a:srgbClr val="1A479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CB4276C-BD85-71E9-420C-8FA6554C337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82585" y="1628621"/>
            <a:ext cx="3542606" cy="321688"/>
          </a:xfrm>
          <a:prstGeom prst="rect">
            <a:avLst/>
          </a:prstGeom>
        </p:spPr>
        <p:txBody>
          <a:bodyPr lIns="0"/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GB" sz="1600" b="1" kern="1200" dirty="0">
                <a:solidFill>
                  <a:srgbClr val="00226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marL="0" lvl="0" indent="-185738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</a:pPr>
            <a:r>
              <a:rPr lang="en-GB" dirty="0"/>
              <a:t>Titl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5FE191E-8206-5156-D268-E669A1D208E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76275" y="1636970"/>
            <a:ext cx="3521730" cy="321688"/>
          </a:xfrm>
          <a:prstGeom prst="rect">
            <a:avLst/>
          </a:prstGeom>
        </p:spPr>
        <p:txBody>
          <a:bodyPr lIns="0"/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GB" sz="1600" b="1" kern="1200" dirty="0">
                <a:solidFill>
                  <a:srgbClr val="00226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marL="0" lvl="0" indent="-185738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</a:pPr>
            <a:r>
              <a:rPr lang="en-GB" dirty="0"/>
              <a:t>Titl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51C6899-E514-485A-63B5-9061EC4BFF6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48179" y="1638975"/>
            <a:ext cx="3530415" cy="321688"/>
          </a:xfrm>
          <a:prstGeom prst="rect">
            <a:avLst/>
          </a:prstGeom>
        </p:spPr>
        <p:txBody>
          <a:bodyPr lIns="0"/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GB" sz="1600" b="1" kern="1200" dirty="0">
                <a:solidFill>
                  <a:srgbClr val="00226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marL="0" lvl="0" indent="-185738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</a:pPr>
            <a:r>
              <a:rPr lang="en-GB" dirty="0"/>
              <a:t>Titl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E215FDA7-1D24-BB56-9024-2CD19B54B49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95254" y="3843563"/>
            <a:ext cx="3529937" cy="321688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600" b="1">
                <a:solidFill>
                  <a:srgbClr val="002265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C449923-8593-B023-6A0B-B4D201BB425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376275" y="3851912"/>
            <a:ext cx="3521730" cy="321688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600" b="1">
                <a:solidFill>
                  <a:srgbClr val="002265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9156B1E0-FA44-5E37-8F5E-7F6D8390015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160849" y="3841965"/>
            <a:ext cx="3517745" cy="321688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600" b="1">
                <a:solidFill>
                  <a:srgbClr val="002265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3B67F9B4-5014-CB51-9EBA-D94815B88AAA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9C06BC3A-3ADB-8861-E5CC-6D01035855F6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260210E6-1A24-E25A-E291-41B8486931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1362A1-4661-D118-68AE-3924C046C0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869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orient="horz" pos="255" userDrawn="1">
          <p15:clr>
            <a:srgbClr val="FBAE40"/>
          </p15:clr>
        </p15:guide>
        <p15:guide id="4" orient="horz" pos="4156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PI Dashboar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4CFF674-6FB3-7D25-8F3B-12E273FB9452}"/>
              </a:ext>
            </a:extLst>
          </p:cNvPr>
          <p:cNvSpPr txBox="1"/>
          <p:nvPr userDrawn="1"/>
        </p:nvSpPr>
        <p:spPr>
          <a:xfrm>
            <a:off x="6575612" y="8068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4F4FB22-0F86-6D78-3A40-1B274770B7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450014"/>
            <a:ext cx="11193164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1" name="Text Placeholder 32">
            <a:extLst>
              <a:ext uri="{FF2B5EF4-FFF2-40B4-BE49-F238E27FC236}">
                <a16:creationId xmlns:a16="http://schemas.microsoft.com/office/drawing/2014/main" id="{1B9ADBE6-2649-CE1F-30C1-3279DC1FC2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159" y="957509"/>
            <a:ext cx="11163252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Main finding</a:t>
            </a: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4983564D-0C43-1123-3DA8-6E2FD26F6BB4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0236057-1CE5-661A-6933-C85ADBFC69D1}"/>
              </a:ext>
            </a:extLst>
          </p:cNvPr>
          <p:cNvSpPr/>
          <p:nvPr userDrawn="1"/>
        </p:nvSpPr>
        <p:spPr>
          <a:xfrm>
            <a:off x="4302283" y="1574427"/>
            <a:ext cx="3680553" cy="2127250"/>
          </a:xfrm>
          <a:prstGeom prst="rect">
            <a:avLst/>
          </a:prstGeom>
          <a:solidFill>
            <a:schemeClr val="bg1"/>
          </a:solidFill>
          <a:ln w="25400">
            <a:solidFill>
              <a:srgbClr val="1A4793">
                <a:alpha val="99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CFF7FD-8F4E-6242-4175-777DFD3BC2A7}"/>
              </a:ext>
            </a:extLst>
          </p:cNvPr>
          <p:cNvSpPr/>
          <p:nvPr userDrawn="1"/>
        </p:nvSpPr>
        <p:spPr>
          <a:xfrm>
            <a:off x="513406" y="1574427"/>
            <a:ext cx="3680553" cy="2127250"/>
          </a:xfrm>
          <a:prstGeom prst="rect">
            <a:avLst/>
          </a:prstGeom>
          <a:solidFill>
            <a:schemeClr val="bg1"/>
          </a:solidFill>
          <a:ln w="25400">
            <a:solidFill>
              <a:srgbClr val="1A4793">
                <a:alpha val="99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9D080EE-1A74-ACE7-975F-693F249BA503}"/>
              </a:ext>
            </a:extLst>
          </p:cNvPr>
          <p:cNvSpPr/>
          <p:nvPr userDrawn="1"/>
        </p:nvSpPr>
        <p:spPr>
          <a:xfrm>
            <a:off x="8078757" y="1574427"/>
            <a:ext cx="3680553" cy="2127250"/>
          </a:xfrm>
          <a:prstGeom prst="rect">
            <a:avLst/>
          </a:prstGeom>
          <a:solidFill>
            <a:schemeClr val="bg1"/>
          </a:solidFill>
          <a:ln w="25400">
            <a:solidFill>
              <a:srgbClr val="1A4793">
                <a:alpha val="99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5B1910E-82A9-3E50-3E3B-94EEF49B6144}"/>
              </a:ext>
            </a:extLst>
          </p:cNvPr>
          <p:cNvSpPr/>
          <p:nvPr userDrawn="1"/>
        </p:nvSpPr>
        <p:spPr>
          <a:xfrm>
            <a:off x="4302766" y="3798841"/>
            <a:ext cx="3680553" cy="2127250"/>
          </a:xfrm>
          <a:prstGeom prst="rect">
            <a:avLst/>
          </a:prstGeom>
          <a:solidFill>
            <a:schemeClr val="bg1"/>
          </a:solidFill>
          <a:ln w="25400">
            <a:solidFill>
              <a:srgbClr val="1A479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5B7C72E-F178-2839-CA90-75FAEE635982}"/>
              </a:ext>
            </a:extLst>
          </p:cNvPr>
          <p:cNvSpPr/>
          <p:nvPr userDrawn="1"/>
        </p:nvSpPr>
        <p:spPr>
          <a:xfrm>
            <a:off x="513406" y="3798841"/>
            <a:ext cx="3680554" cy="2127250"/>
          </a:xfrm>
          <a:prstGeom prst="rect">
            <a:avLst/>
          </a:prstGeom>
          <a:solidFill>
            <a:schemeClr val="bg1"/>
          </a:solidFill>
          <a:ln w="25400">
            <a:solidFill>
              <a:srgbClr val="1A479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7AE2375-1E03-2CEA-CBA5-40907D47DC4E}"/>
              </a:ext>
            </a:extLst>
          </p:cNvPr>
          <p:cNvSpPr/>
          <p:nvPr userDrawn="1"/>
        </p:nvSpPr>
        <p:spPr>
          <a:xfrm>
            <a:off x="8088526" y="3798841"/>
            <a:ext cx="3680553" cy="2127250"/>
          </a:xfrm>
          <a:prstGeom prst="rect">
            <a:avLst/>
          </a:prstGeom>
          <a:solidFill>
            <a:schemeClr val="bg1"/>
          </a:solidFill>
          <a:ln w="25400">
            <a:solidFill>
              <a:srgbClr val="1A479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8EC5F84-B3E9-DF00-969A-3CDAD6E8C89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82585" y="1628621"/>
            <a:ext cx="3542606" cy="321688"/>
          </a:xfrm>
          <a:prstGeom prst="rect">
            <a:avLst/>
          </a:prstGeom>
        </p:spPr>
        <p:txBody>
          <a:bodyPr lIns="0"/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GB" sz="1600" b="1" kern="1200" dirty="0">
                <a:solidFill>
                  <a:srgbClr val="00226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marL="0" lvl="0" indent="-185738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</a:pPr>
            <a:r>
              <a:rPr lang="en-GB" dirty="0"/>
              <a:t>Tit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66EC6C09-56EA-EEA5-07C7-97577BCF29A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76275" y="1636970"/>
            <a:ext cx="3521730" cy="321688"/>
          </a:xfrm>
          <a:prstGeom prst="rect">
            <a:avLst/>
          </a:prstGeom>
        </p:spPr>
        <p:txBody>
          <a:bodyPr lIns="0"/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GB" sz="1600" b="1" kern="1200" dirty="0">
                <a:solidFill>
                  <a:srgbClr val="00226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marL="0" lvl="0" indent="-185738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</a:pPr>
            <a:r>
              <a:rPr lang="en-GB" dirty="0"/>
              <a:t>Titl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279F616-8A5A-EB28-1F85-977395DB701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48179" y="1638975"/>
            <a:ext cx="3530415" cy="321688"/>
          </a:xfrm>
          <a:prstGeom prst="rect">
            <a:avLst/>
          </a:prstGeom>
        </p:spPr>
        <p:txBody>
          <a:bodyPr lIns="0"/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GB" sz="1600" b="1" kern="1200" dirty="0">
                <a:solidFill>
                  <a:srgbClr val="00226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marL="0" lvl="0" indent="-185738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</a:pPr>
            <a:r>
              <a:rPr lang="en-GB" dirty="0"/>
              <a:t>Titl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FD668C50-4BB5-2D51-1AEE-5619A8D5FF3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95254" y="3843563"/>
            <a:ext cx="3529937" cy="321688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600" b="1">
                <a:solidFill>
                  <a:srgbClr val="002265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51D9DFF2-2844-2E2E-9753-FF6FDB1801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376275" y="3851912"/>
            <a:ext cx="3521730" cy="321688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600" b="1">
                <a:solidFill>
                  <a:srgbClr val="002265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5277B044-B349-DDAD-2D03-DB93B617E9C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160849" y="3841965"/>
            <a:ext cx="3517745" cy="321688"/>
          </a:xfrm>
          <a:prstGeom prst="rect">
            <a:avLst/>
          </a:prstGeom>
        </p:spPr>
        <p:txBody>
          <a:bodyPr lIns="0"/>
          <a:lstStyle>
            <a:lvl1pPr marL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600" b="1">
                <a:solidFill>
                  <a:srgbClr val="002265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87BFDD-E1E8-9A81-9105-94EA8F6543B8}"/>
              </a:ext>
            </a:extLst>
          </p:cNvPr>
          <p:cNvSpPr/>
          <p:nvPr userDrawn="1"/>
        </p:nvSpPr>
        <p:spPr>
          <a:xfrm>
            <a:off x="-9543" y="6358877"/>
            <a:ext cx="12216291" cy="514157"/>
          </a:xfrm>
          <a:prstGeom prst="rect">
            <a:avLst/>
          </a:prstGeom>
          <a:gradFill>
            <a:gsLst>
              <a:gs pos="65515">
                <a:srgbClr val="0A2D71"/>
              </a:gs>
              <a:gs pos="43000">
                <a:srgbClr val="002060"/>
              </a:gs>
              <a:gs pos="25000">
                <a:srgbClr val="1A428A"/>
              </a:gs>
              <a:gs pos="0">
                <a:srgbClr val="2A67D6"/>
              </a:gs>
              <a:gs pos="100000">
                <a:srgbClr val="01216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2173AEA-51FF-B47D-C3D6-591776D8EC38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B04F64D-30A8-87A6-7ADD-9C78446BE7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43F51FE-0D4C-55D7-4383-473F996E01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291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orient="horz" pos="255" userDrawn="1">
          <p15:clr>
            <a:srgbClr val="FBAE40"/>
          </p15:clr>
        </p15:guide>
        <p15:guide id="4" orient="horz" pos="2387" userDrawn="1">
          <p15:clr>
            <a:srgbClr val="FBAE40"/>
          </p15:clr>
        </p15:guide>
        <p15:guide id="8" orient="horz" pos="3838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page 1 -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09414CE-9CD5-8CB3-BF3D-92B35B2AED46}"/>
              </a:ext>
            </a:extLst>
          </p:cNvPr>
          <p:cNvSpPr/>
          <p:nvPr userDrawn="1"/>
        </p:nvSpPr>
        <p:spPr>
          <a:xfrm>
            <a:off x="-34147" y="0"/>
            <a:ext cx="6166163" cy="6858000"/>
          </a:xfrm>
          <a:prstGeom prst="rect">
            <a:avLst/>
          </a:prstGeom>
          <a:gradFill>
            <a:gsLst>
              <a:gs pos="0">
                <a:srgbClr val="1E4C9E"/>
              </a:gs>
              <a:gs pos="27000">
                <a:srgbClr val="1C4A99"/>
              </a:gs>
              <a:gs pos="83000">
                <a:srgbClr val="052C5B"/>
              </a:gs>
              <a:gs pos="100000">
                <a:srgbClr val="052C5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Picture Placeholder 25">
            <a:extLst>
              <a:ext uri="{FF2B5EF4-FFF2-40B4-BE49-F238E27FC236}">
                <a16:creationId xmlns:a16="http://schemas.microsoft.com/office/drawing/2014/main" id="{A385A451-22F9-353A-CFEA-79013F0D180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32016" y="0"/>
            <a:ext cx="6059984" cy="685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002265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438A336-9612-094F-A0DC-0CB72B4940A5}"/>
              </a:ext>
            </a:extLst>
          </p:cNvPr>
          <p:cNvSpPr txBox="1"/>
          <p:nvPr userDrawn="1"/>
        </p:nvSpPr>
        <p:spPr>
          <a:xfrm>
            <a:off x="6575612" y="8068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pic>
        <p:nvPicPr>
          <p:cNvPr id="8" name="Picture 7" descr="A blue quote marks on a black background&#10;&#10;Description automatically generated">
            <a:extLst>
              <a:ext uri="{FF2B5EF4-FFF2-40B4-BE49-F238E27FC236}">
                <a16:creationId xmlns:a16="http://schemas.microsoft.com/office/drawing/2014/main" id="{207AF45F-3779-FADA-F025-2A424EA3EE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99690" y="-207582"/>
            <a:ext cx="3264288" cy="2695547"/>
          </a:xfrm>
          <a:prstGeom prst="rect">
            <a:avLst/>
          </a:prstGeom>
        </p:spPr>
      </p:pic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4F41816-B766-2F46-5017-040C52DE76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8809" y="2040646"/>
            <a:ext cx="5666409" cy="3706184"/>
          </a:xfrm>
          <a:prstGeom prst="rect">
            <a:avLst/>
          </a:prstGeom>
        </p:spPr>
        <p:txBody>
          <a:bodyPr lIns="0"/>
          <a:lstStyle>
            <a:lvl1pPr marL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3000" i="1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quote in italics her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D5B060B-16CA-CC9C-7BF3-04DA5EBA79DD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tx1"/>
                </a:solidFill>
              </a:rPr>
              <a:t> </a:t>
            </a:r>
            <a:endParaRPr lang="en-US" b="0" i="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09F7B5C-D01B-A727-4669-BFB4FF36C27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18CB27-BFE2-289F-13FA-DB7A66BF99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966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orient="horz" pos="255" userDrawn="1">
          <p15:clr>
            <a:srgbClr val="FBAE40"/>
          </p15:clr>
        </p15:guide>
        <p15:guide id="4" orient="horz" pos="415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 -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09414CE-9CD5-8CB3-BF3D-92B35B2AED46}"/>
              </a:ext>
            </a:extLst>
          </p:cNvPr>
          <p:cNvSpPr/>
          <p:nvPr userDrawn="1"/>
        </p:nvSpPr>
        <p:spPr>
          <a:xfrm>
            <a:off x="6132016" y="0"/>
            <a:ext cx="6166163" cy="6858000"/>
          </a:xfrm>
          <a:prstGeom prst="rect">
            <a:avLst/>
          </a:prstGeom>
          <a:gradFill>
            <a:gsLst>
              <a:gs pos="0">
                <a:srgbClr val="1E4C9E"/>
              </a:gs>
              <a:gs pos="27000">
                <a:srgbClr val="1C4A99"/>
              </a:gs>
              <a:gs pos="83000">
                <a:srgbClr val="052C5B"/>
              </a:gs>
              <a:gs pos="100000">
                <a:srgbClr val="052C5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Picture Placeholder 25">
            <a:extLst>
              <a:ext uri="{FF2B5EF4-FFF2-40B4-BE49-F238E27FC236}">
                <a16:creationId xmlns:a16="http://schemas.microsoft.com/office/drawing/2014/main" id="{A385A451-22F9-353A-CFEA-79013F0D180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32015" y="0"/>
            <a:ext cx="6166163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438A336-9612-094F-A0DC-0CB72B4940A5}"/>
              </a:ext>
            </a:extLst>
          </p:cNvPr>
          <p:cNvSpPr txBox="1"/>
          <p:nvPr userDrawn="1"/>
        </p:nvSpPr>
        <p:spPr>
          <a:xfrm>
            <a:off x="6575612" y="8068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4F41816-B766-2F46-5017-040C52DE76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8809" y="2040646"/>
            <a:ext cx="5666409" cy="3706184"/>
          </a:xfrm>
          <a:prstGeom prst="rect">
            <a:avLst/>
          </a:prstGeom>
        </p:spPr>
        <p:txBody>
          <a:bodyPr lIns="0"/>
          <a:lstStyle>
            <a:lvl1pPr marL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3000" i="1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quote in italics here</a:t>
            </a:r>
          </a:p>
        </p:txBody>
      </p:sp>
      <p:pic>
        <p:nvPicPr>
          <p:cNvPr id="6" name="Picture 5" descr="A blue quote marks on a black background&#10;&#10;Description automatically generated">
            <a:extLst>
              <a:ext uri="{FF2B5EF4-FFF2-40B4-BE49-F238E27FC236}">
                <a16:creationId xmlns:a16="http://schemas.microsoft.com/office/drawing/2014/main" id="{21427379-80D9-750B-4001-F824134EC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92608" y="-231856"/>
            <a:ext cx="3252789" cy="2686051"/>
          </a:xfrm>
          <a:prstGeom prst="rect">
            <a:avLst/>
          </a:prstGeom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0106A451-BA36-DF68-E86D-252C0CC2CB29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05857B3-4760-5D9B-7A4B-87C4C7C871B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440771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5" name="Picture 4" descr="A blue and black logo&#10;&#10;Description automatically generated">
            <a:extLst>
              <a:ext uri="{FF2B5EF4-FFF2-40B4-BE49-F238E27FC236}">
                <a16:creationId xmlns:a16="http://schemas.microsoft.com/office/drawing/2014/main" id="{5AF42E49-0B5C-D3DF-E6CB-5A2578D2A54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011" y="6459579"/>
            <a:ext cx="788054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768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orient="horz" pos="255" userDrawn="1">
          <p15:clr>
            <a:srgbClr val="FBAE40"/>
          </p15:clr>
        </p15:guide>
        <p15:guide id="4" orient="horz" pos="4156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obile placeholder white">
    <p:bg>
      <p:bgPr>
        <a:gradFill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E4DA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8">
            <a:extLst>
              <a:ext uri="{FF2B5EF4-FFF2-40B4-BE49-F238E27FC236}">
                <a16:creationId xmlns:a16="http://schemas.microsoft.com/office/drawing/2014/main" id="{641D3A45-534E-70C0-4531-8962ACD81ACA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gradFill>
            <a:gsLst>
              <a:gs pos="0">
                <a:srgbClr val="001848"/>
              </a:gs>
              <a:gs pos="57000">
                <a:srgbClr val="002B82"/>
              </a:gs>
              <a:gs pos="100000">
                <a:srgbClr val="1E4DA2"/>
              </a:gs>
            </a:gsLst>
            <a:lin ang="4200000" scaled="0"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496034FE-B82D-7AEB-BB9C-672A75B410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9413" y="1386006"/>
            <a:ext cx="10670587" cy="3072361"/>
          </a:xfrm>
          <a:prstGeom prst="rect">
            <a:avLst/>
          </a:prstGeom>
        </p:spPr>
        <p:txBody>
          <a:bodyPr lIns="0"/>
          <a:lstStyle>
            <a:lvl1pPr marL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3000" i="1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quote in italics here</a:t>
            </a:r>
          </a:p>
        </p:txBody>
      </p:sp>
      <p:pic>
        <p:nvPicPr>
          <p:cNvPr id="7" name="Picture 6" descr="A blue quote marks on a black background&#10;&#10;Description automatically generated">
            <a:extLst>
              <a:ext uri="{FF2B5EF4-FFF2-40B4-BE49-F238E27FC236}">
                <a16:creationId xmlns:a16="http://schemas.microsoft.com/office/drawing/2014/main" id="{D8493B28-0C2E-AF44-4049-81E82BBCBB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9153" y="260350"/>
            <a:ext cx="1363162" cy="112565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7EA07D8-35E0-1343-6E64-1886912261B2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06BB7F-3436-A3E7-CCAB-6D42B253CA8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D2C2FC-ECFB-3AFD-7726-BF76DE9CAF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011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obile placeholder white">
    <p:bg>
      <p:bgPr>
        <a:gradFill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A428A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8">
            <a:extLst>
              <a:ext uri="{FF2B5EF4-FFF2-40B4-BE49-F238E27FC236}">
                <a16:creationId xmlns:a16="http://schemas.microsoft.com/office/drawing/2014/main" id="{641D3A45-534E-70C0-4531-8962ACD81ACA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D8389D59-574A-1C6D-A051-2E0DCC4EA5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9413" y="1364210"/>
            <a:ext cx="10670587" cy="3094157"/>
          </a:xfrm>
          <a:prstGeom prst="rect">
            <a:avLst/>
          </a:prstGeom>
        </p:spPr>
        <p:txBody>
          <a:bodyPr lIns="0"/>
          <a:lstStyle>
            <a:lvl1pPr marL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3000" i="1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quote in italics here</a:t>
            </a:r>
          </a:p>
        </p:txBody>
      </p:sp>
      <p:pic>
        <p:nvPicPr>
          <p:cNvPr id="6" name="Picture 5" descr="A blue quote marks on a black background&#10;&#10;Description automatically generated">
            <a:extLst>
              <a:ext uri="{FF2B5EF4-FFF2-40B4-BE49-F238E27FC236}">
                <a16:creationId xmlns:a16="http://schemas.microsoft.com/office/drawing/2014/main" id="{96D9CA71-F967-2D7A-EA68-5B0DE6A737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5546" y="260350"/>
            <a:ext cx="1336768" cy="1103861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27E9007-47FC-BC83-84B6-DA7391F1E6C7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2C4A175-0939-C4C0-8625-F73C35FBBA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9E83FBA-C811-F2EB-0423-1C2E487D4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603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2 - two columns,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38AFFD1-5D0F-5C4C-8251-0DB23DE2A11D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6329159" y="1758961"/>
            <a:ext cx="5316791" cy="414138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4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EC71F297-9F4D-8D4B-8AD4-BA60ACF35D0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6050" y="1758961"/>
            <a:ext cx="5333924" cy="4141385"/>
          </a:xfrm>
          <a:prstGeom prst="rect">
            <a:avLst/>
          </a:prstGeom>
        </p:spPr>
        <p:txBody>
          <a:bodyPr lIns="0"/>
          <a:lstStyle>
            <a:lvl1pPr mar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400">
                <a:solidFill>
                  <a:srgbClr val="000000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a paragraph of text here.</a:t>
            </a:r>
          </a:p>
        </p:txBody>
      </p:sp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90239A95-76A6-8D88-814B-9DBB5CBDD4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450014"/>
            <a:ext cx="7492164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rgbClr val="00206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" name="Text Placeholder 32">
            <a:extLst>
              <a:ext uri="{FF2B5EF4-FFF2-40B4-BE49-F238E27FC236}">
                <a16:creationId xmlns:a16="http://schemas.microsoft.com/office/drawing/2014/main" id="{8F9A2264-71F2-4885-67E3-F9AC15EE12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8526" y="957653"/>
            <a:ext cx="7478422" cy="35047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rgbClr val="002265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Main findings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91C8DE7A-DEAE-251B-E39F-A3F5B35726B1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3CB3D85-358A-3AB1-A9C2-9D07AB9F1FF9}"/>
              </a:ext>
            </a:extLst>
          </p:cNvPr>
          <p:cNvSpPr/>
          <p:nvPr userDrawn="1"/>
        </p:nvSpPr>
        <p:spPr>
          <a:xfrm>
            <a:off x="-9543" y="6358877"/>
            <a:ext cx="12216291" cy="514157"/>
          </a:xfrm>
          <a:prstGeom prst="rect">
            <a:avLst/>
          </a:prstGeom>
          <a:gradFill>
            <a:gsLst>
              <a:gs pos="65515">
                <a:srgbClr val="0A2D71"/>
              </a:gs>
              <a:gs pos="43000">
                <a:srgbClr val="002060"/>
              </a:gs>
              <a:gs pos="25000">
                <a:srgbClr val="1A428A"/>
              </a:gs>
              <a:gs pos="0">
                <a:srgbClr val="2A67D6"/>
              </a:gs>
              <a:gs pos="100000">
                <a:srgbClr val="01216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282D781-0246-1526-3459-F03E4D3049DE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0DBEE69-6429-2893-D158-0EE99D0A42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D57DCF2-868E-B5E0-6824-7E9F548EAD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494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9" orient="horz" pos="890" userDrawn="1">
          <p15:clr>
            <a:srgbClr val="FBAE40"/>
          </p15:clr>
        </p15:guide>
        <p15:guide id="11" orient="horz" pos="3725" userDrawn="1">
          <p15:clr>
            <a:srgbClr val="FBAE40"/>
          </p15:clr>
        </p15:guide>
        <p15:guide id="12" orient="horz" pos="255" userDrawn="1">
          <p15:clr>
            <a:srgbClr val="FBAE40"/>
          </p15:clr>
        </p15:guide>
        <p15:guide id="13" orient="horz" pos="417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3 - two columns, righ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851E094-C097-D548-8740-4AC333800F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45500" y="1904096"/>
            <a:ext cx="5473701" cy="514157"/>
          </a:xfrm>
          <a:prstGeom prst="rect">
            <a:avLst/>
          </a:prstGeom>
        </p:spPr>
        <p:txBody>
          <a:bodyPr lIns="0" anchor="t" anchorCtr="0"/>
          <a:lstStyle>
            <a:lvl1pPr mar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400" b="1" i="0">
                <a:solidFill>
                  <a:schemeClr val="accent6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 sz="1800" b="1">
                <a:solidFill>
                  <a:schemeClr val="tx2"/>
                </a:solidFill>
              </a:defRPr>
            </a:lvl2pPr>
            <a:lvl3pPr>
              <a:buNone/>
              <a:defRPr sz="1800" b="1">
                <a:solidFill>
                  <a:schemeClr val="tx2"/>
                </a:solidFill>
              </a:defRPr>
            </a:lvl3pPr>
            <a:lvl4pPr>
              <a:buNone/>
              <a:defRPr sz="1800" b="1">
                <a:solidFill>
                  <a:schemeClr val="tx2"/>
                </a:solidFill>
              </a:defRPr>
            </a:lvl4pPr>
            <a:lvl5pPr>
              <a:buNone/>
              <a:defRPr sz="18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add a lead-in to introduce the paragraph of text below.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2409023B-9EF8-5B40-9580-1B7351DB41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54736" y="2530612"/>
            <a:ext cx="5473700" cy="3207389"/>
          </a:xfrm>
          <a:prstGeom prst="rect">
            <a:avLst/>
          </a:prstGeom>
        </p:spPr>
        <p:txBody>
          <a:bodyPr lIns="0"/>
          <a:lstStyle>
            <a:lvl1pPr mar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400">
                <a:solidFill>
                  <a:srgbClr val="000000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a paragraph of text here.</a:t>
            </a:r>
          </a:p>
        </p:txBody>
      </p:sp>
      <p:sp>
        <p:nvSpPr>
          <p:cNvPr id="16" name="Chart Placeholder 4">
            <a:extLst>
              <a:ext uri="{FF2B5EF4-FFF2-40B4-BE49-F238E27FC236}">
                <a16:creationId xmlns:a16="http://schemas.microsoft.com/office/drawing/2014/main" id="{123FD82D-C6F2-4541-92BA-D80250756C92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563563" y="1904096"/>
            <a:ext cx="5473700" cy="383390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4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CA3F1018-FB26-E1C6-CCC7-ADF3A12745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450014"/>
            <a:ext cx="11099900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rgbClr val="00206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F8674920-9D18-A087-6448-68EFAB456E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8525" y="957653"/>
            <a:ext cx="11107425" cy="35047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rgbClr val="002265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Main finding</a:t>
            </a: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97F30681-F858-7CAD-A8A5-4273A8CC0254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4897DC-E805-FA39-3C61-0080849B6B73}"/>
              </a:ext>
            </a:extLst>
          </p:cNvPr>
          <p:cNvSpPr/>
          <p:nvPr userDrawn="1"/>
        </p:nvSpPr>
        <p:spPr>
          <a:xfrm>
            <a:off x="-9543" y="6358877"/>
            <a:ext cx="12216291" cy="514157"/>
          </a:xfrm>
          <a:prstGeom prst="rect">
            <a:avLst/>
          </a:prstGeom>
          <a:gradFill>
            <a:gsLst>
              <a:gs pos="65515">
                <a:srgbClr val="0A2D71"/>
              </a:gs>
              <a:gs pos="43000">
                <a:srgbClr val="002060"/>
              </a:gs>
              <a:gs pos="25000">
                <a:srgbClr val="1A428A"/>
              </a:gs>
              <a:gs pos="0">
                <a:srgbClr val="2A67D6"/>
              </a:gs>
              <a:gs pos="100000">
                <a:srgbClr val="01216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D8B1443-5EAC-8BCD-7E49-BDC268714B7C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F525855-09B7-EE44-2A8F-534C13D8B5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6A36CFF-7316-0CBC-64E8-2E15183FF0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441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orient="horz" pos="255" userDrawn="1">
          <p15:clr>
            <a:srgbClr val="FBAE40"/>
          </p15:clr>
        </p15:guide>
        <p15:guide id="4" orient="horz" pos="4156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gradFill>
          <a:gsLst>
            <a:gs pos="0">
              <a:srgbClr val="183C7E"/>
            </a:gs>
            <a:gs pos="34000">
              <a:srgbClr val="002060"/>
            </a:gs>
            <a:gs pos="83000">
              <a:srgbClr val="073A77"/>
            </a:gs>
            <a:gs pos="100000">
              <a:srgbClr val="052C5B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F68BAF8F-8617-75D1-0808-D44A7FD0CA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49" y="450014"/>
            <a:ext cx="11099901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Text Placeholder 32">
            <a:extLst>
              <a:ext uri="{FF2B5EF4-FFF2-40B4-BE49-F238E27FC236}">
                <a16:creationId xmlns:a16="http://schemas.microsoft.com/office/drawing/2014/main" id="{C5AC4106-A691-FD79-613E-F9172ADF5B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158" y="957509"/>
            <a:ext cx="11096792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Main finding</a:t>
            </a: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8012713-1496-45CF-681D-7D025212A29B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DF8DCF0-A823-7439-9C8D-8E0D7B95B0E0}"/>
              </a:ext>
            </a:extLst>
          </p:cNvPr>
          <p:cNvSpPr/>
          <p:nvPr userDrawn="1"/>
        </p:nvSpPr>
        <p:spPr>
          <a:xfrm>
            <a:off x="-12146" y="6358877"/>
            <a:ext cx="12216291" cy="5141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1B31AF-6CEF-001D-ED9F-73F8A62FFC64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tx1"/>
                </a:solidFill>
              </a:rPr>
              <a:t> </a:t>
            </a:r>
            <a:endParaRPr lang="en-US" b="0" i="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4C44B38-70E4-5D16-7824-490919FFFB3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7" name="Picture 6" descr="A blue and black logo&#10;&#10;Description automatically generated">
            <a:extLst>
              <a:ext uri="{FF2B5EF4-FFF2-40B4-BE49-F238E27FC236}">
                <a16:creationId xmlns:a16="http://schemas.microsoft.com/office/drawing/2014/main" id="{B83BB9A3-774C-7F1E-577C-C40C496AEE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5011" y="6459579"/>
            <a:ext cx="788054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700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D53D447-E6BC-AFFB-009C-7C09A3A49BB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t="35056"/>
          <a:stretch/>
        </p:blipFill>
        <p:spPr>
          <a:xfrm>
            <a:off x="0" y="0"/>
            <a:ext cx="12192000" cy="5268119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268118"/>
            <a:ext cx="12192000" cy="1621166"/>
          </a:xfrm>
          <a:prstGeom prst="rect">
            <a:avLst/>
          </a:prstGeom>
          <a:gradFill>
            <a:gsLst>
              <a:gs pos="100000">
                <a:srgbClr val="002060"/>
              </a:gs>
              <a:gs pos="56000">
                <a:srgbClr val="1A428A"/>
              </a:gs>
              <a:gs pos="0">
                <a:srgbClr val="012161"/>
              </a:gs>
              <a:gs pos="100000">
                <a:srgbClr val="1A428A"/>
              </a:gs>
            </a:gsLst>
            <a:lin ang="10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593059" y="554183"/>
            <a:ext cx="8125200" cy="5787100"/>
          </a:xfrm>
          <a:prstGeom prst="rect">
            <a:avLst/>
          </a:prstGeom>
          <a:gradFill flip="none" rotWithShape="1">
            <a:gsLst>
              <a:gs pos="0">
                <a:srgbClr val="2256B4"/>
              </a:gs>
              <a:gs pos="100000">
                <a:srgbClr val="012161"/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6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684951"/>
            <a:ext cx="3778436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additional info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79537" y="3477316"/>
            <a:ext cx="7194787" cy="117310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defRPr sz="3500" b="1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Enter the </a:t>
            </a:r>
            <a:br>
              <a:rPr lang="en-US" dirty="0"/>
            </a:br>
            <a:r>
              <a:rPr lang="en-US" dirty="0"/>
              <a:t>title he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8CB726F-C7B7-1D5B-DD90-693496F2E17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09819" y="949963"/>
            <a:ext cx="1926006" cy="722252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06AF17E5-2671-201E-701D-BAA48226DF5E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8810624" y="5781997"/>
            <a:ext cx="2949815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0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8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echoresearch.com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3F3B38-9B75-2DA1-1220-5F3C319E754D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4787476" y="5672630"/>
            <a:ext cx="3778436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0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8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1F56FD0-7FDF-45F3-45DC-C1D376CCBFBB}"/>
              </a:ext>
            </a:extLst>
          </p:cNvPr>
          <p:cNvSpPr/>
          <p:nvPr userDrawn="1"/>
        </p:nvSpPr>
        <p:spPr>
          <a:xfrm>
            <a:off x="4787476" y="554183"/>
            <a:ext cx="3941001" cy="14319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n>
                <a:noFill/>
              </a:ln>
            </a:endParaRP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5071733" y="949963"/>
            <a:ext cx="3381153" cy="722252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ent Logo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DBA497C2-03F0-9EC9-994A-03993F6345A2}"/>
              </a:ext>
            </a:extLst>
          </p:cNvPr>
          <p:cNvSpPr/>
          <p:nvPr userDrawn="1"/>
        </p:nvSpPr>
        <p:spPr>
          <a:xfrm rot="5400000">
            <a:off x="-45018" y="3762335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515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gradFill>
          <a:gsLst>
            <a:gs pos="0">
              <a:srgbClr val="183C7E"/>
            </a:gs>
            <a:gs pos="34000">
              <a:srgbClr val="002060"/>
            </a:gs>
            <a:gs pos="83000">
              <a:srgbClr val="073A77"/>
            </a:gs>
            <a:gs pos="100000">
              <a:srgbClr val="052C5B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29EC8-16E3-561F-E3CB-93853C04EC0E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2AC28D2-71F3-8D67-69CB-47D4D495AF5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F17FD8A7-99E8-3DEE-A67A-FDCD2F38C5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49" y="450014"/>
            <a:ext cx="11099901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4" name="Text Placeholder 32">
            <a:extLst>
              <a:ext uri="{FF2B5EF4-FFF2-40B4-BE49-F238E27FC236}">
                <a16:creationId xmlns:a16="http://schemas.microsoft.com/office/drawing/2014/main" id="{B58CD987-9534-3B47-C07A-BDB54AF323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158" y="957509"/>
            <a:ext cx="11096792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Main finding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2BBDD0DC-E09C-2DC4-C7C3-A7379FB4E37C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175492D-4122-B55B-6202-83BE321DF0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9941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bg>
      <p:bgPr>
        <a:solidFill>
          <a:srgbClr val="01216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19C1531-BEA4-29AD-4A97-612E040ED5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450014"/>
            <a:ext cx="11133568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8" name="Text Placeholder 32">
            <a:extLst>
              <a:ext uri="{FF2B5EF4-FFF2-40B4-BE49-F238E27FC236}">
                <a16:creationId xmlns:a16="http://schemas.microsoft.com/office/drawing/2014/main" id="{B0F6A225-E560-0BEA-D6B8-5CD06052F2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158" y="957509"/>
            <a:ext cx="11130459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11AE2A30-F2C3-6626-9EE6-866E9ADC469D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FA871E-9A75-9C35-0465-E42B79332409}"/>
              </a:ext>
            </a:extLst>
          </p:cNvPr>
          <p:cNvSpPr/>
          <p:nvPr userDrawn="1"/>
        </p:nvSpPr>
        <p:spPr>
          <a:xfrm>
            <a:off x="-9543" y="6358877"/>
            <a:ext cx="12216291" cy="514157"/>
          </a:xfrm>
          <a:prstGeom prst="rect">
            <a:avLst/>
          </a:prstGeom>
          <a:gradFill>
            <a:gsLst>
              <a:gs pos="65515">
                <a:srgbClr val="0A2D71"/>
              </a:gs>
              <a:gs pos="43000">
                <a:srgbClr val="002060"/>
              </a:gs>
              <a:gs pos="25000">
                <a:srgbClr val="1A428A"/>
              </a:gs>
              <a:gs pos="0">
                <a:srgbClr val="2A67D6"/>
              </a:gs>
              <a:gs pos="100000">
                <a:srgbClr val="01216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5BA2CC3-706D-0930-1F72-4A03690CF080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5965F7F-F3FC-B24E-129D-43BCB853C3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AD53AC-7C9A-4AA3-97CC-09A24EFCCE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2794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page 1 -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719E12C-9F01-75FF-DD26-7C3B8B70CD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450014"/>
            <a:ext cx="11099900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rgbClr val="00206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624A298F-A47D-A729-6A74-9BC4BE3E91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8525" y="957653"/>
            <a:ext cx="11107425" cy="35047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rgbClr val="002265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6D77FDCA-62A7-A51D-4525-3E04FD6838F2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B70C5B2-B174-CCF5-97B3-40BE84EB27D2}"/>
              </a:ext>
            </a:extLst>
          </p:cNvPr>
          <p:cNvSpPr/>
          <p:nvPr userDrawn="1"/>
        </p:nvSpPr>
        <p:spPr>
          <a:xfrm>
            <a:off x="-9543" y="6358877"/>
            <a:ext cx="12216291" cy="514157"/>
          </a:xfrm>
          <a:prstGeom prst="rect">
            <a:avLst/>
          </a:prstGeom>
          <a:gradFill>
            <a:gsLst>
              <a:gs pos="65515">
                <a:srgbClr val="0A2D71"/>
              </a:gs>
              <a:gs pos="43000">
                <a:srgbClr val="002060"/>
              </a:gs>
              <a:gs pos="25000">
                <a:srgbClr val="1A428A"/>
              </a:gs>
              <a:gs pos="0">
                <a:srgbClr val="2A67D6"/>
              </a:gs>
              <a:gs pos="100000">
                <a:srgbClr val="01216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BC11DA0-0F69-8971-A2E0-B5FE2956DCE6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A23E13-A907-E168-67EC-505CAD7C23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0D8D6B6-E3F4-D794-7223-0220070777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961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orient="horz" pos="255" userDrawn="1">
          <p15:clr>
            <a:srgbClr val="FBAE40"/>
          </p15:clr>
        </p15:guide>
        <p15:guide id="4" orient="horz" pos="4156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PI Dashboar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02B1019-6459-C057-E622-0B0845389D89}"/>
              </a:ext>
            </a:extLst>
          </p:cNvPr>
          <p:cNvSpPr/>
          <p:nvPr userDrawn="1"/>
        </p:nvSpPr>
        <p:spPr>
          <a:xfrm>
            <a:off x="6021106" y="286"/>
            <a:ext cx="6166163" cy="6858000"/>
          </a:xfrm>
          <a:prstGeom prst="rect">
            <a:avLst/>
          </a:prstGeom>
          <a:gradFill>
            <a:gsLst>
              <a:gs pos="0">
                <a:srgbClr val="1E4C9E"/>
              </a:gs>
              <a:gs pos="27000">
                <a:srgbClr val="1C4A99"/>
              </a:gs>
              <a:gs pos="83000">
                <a:srgbClr val="052C5B"/>
              </a:gs>
              <a:gs pos="100000">
                <a:srgbClr val="052C5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FBC0A304-50CC-DB36-171E-B07A7225BB11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6329159" y="1758961"/>
            <a:ext cx="5316791" cy="3902729"/>
          </a:xfrm>
          <a:prstGeom prst="rect">
            <a:avLst/>
          </a:prstGeom>
        </p:spPr>
        <p:txBody>
          <a:bodyPr/>
          <a:lstStyle>
            <a:lvl1pPr>
              <a:buClr>
                <a:srgbClr val="D3307C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1BFFE25-572D-0894-FB03-0FEE3E0245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6050" y="1758962"/>
            <a:ext cx="5333924" cy="3865871"/>
          </a:xfrm>
          <a:prstGeom prst="rect">
            <a:avLst/>
          </a:prstGeom>
        </p:spPr>
        <p:txBody>
          <a:bodyPr lIns="0"/>
          <a:lstStyle>
            <a:lvl1pPr mar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400">
                <a:solidFill>
                  <a:schemeClr val="accent6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a paragraph of text here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BD6866D-E99B-ACED-EE1A-683A8B69BAF2}"/>
              </a:ext>
            </a:extLst>
          </p:cNvPr>
          <p:cNvSpPr/>
          <p:nvPr userDrawn="1"/>
        </p:nvSpPr>
        <p:spPr>
          <a:xfrm>
            <a:off x="-9543" y="6358877"/>
            <a:ext cx="12216291" cy="514157"/>
          </a:xfrm>
          <a:prstGeom prst="rect">
            <a:avLst/>
          </a:prstGeom>
          <a:gradFill>
            <a:gsLst>
              <a:gs pos="65515">
                <a:srgbClr val="0A2D71"/>
              </a:gs>
              <a:gs pos="43000">
                <a:srgbClr val="002060"/>
              </a:gs>
              <a:gs pos="25000">
                <a:srgbClr val="1A428A"/>
              </a:gs>
              <a:gs pos="0">
                <a:srgbClr val="2A67D6"/>
              </a:gs>
              <a:gs pos="100000">
                <a:srgbClr val="01216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B703A54-13CF-8D9B-8F57-6E8F11651975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AA7CE4F-D8AE-B89C-064A-809497B1FD7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9E9A1540-A555-602D-B882-7B679CFFE2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450014"/>
            <a:ext cx="5333924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rgbClr val="00206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Text Placeholder 32">
            <a:extLst>
              <a:ext uri="{FF2B5EF4-FFF2-40B4-BE49-F238E27FC236}">
                <a16:creationId xmlns:a16="http://schemas.microsoft.com/office/drawing/2014/main" id="{870AA30D-0682-0FBA-800E-F759B1A3C1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8526" y="957653"/>
            <a:ext cx="5337540" cy="35047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rgbClr val="002265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C6CD878E-DB14-8D15-9E20-D08C46B6FEA5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27DA640-5266-4581-9F99-D0EAE4263A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191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orient="horz" pos="255" userDrawn="1">
          <p15:clr>
            <a:srgbClr val="FBAE40"/>
          </p15:clr>
        </p15:guide>
        <p15:guide id="4" orient="horz" pos="2387" userDrawn="1">
          <p15:clr>
            <a:srgbClr val="FBAE40"/>
          </p15:clr>
        </p15:guide>
        <p15:guide id="8" orient="horz" pos="3838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KPI Dashboar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02B1019-6459-C057-E622-0B0845389D89}"/>
              </a:ext>
            </a:extLst>
          </p:cNvPr>
          <p:cNvSpPr/>
          <p:nvPr userDrawn="1"/>
        </p:nvSpPr>
        <p:spPr>
          <a:xfrm>
            <a:off x="-9543" y="286"/>
            <a:ext cx="12213266" cy="6879266"/>
          </a:xfrm>
          <a:prstGeom prst="rect">
            <a:avLst/>
          </a:prstGeom>
          <a:gradFill>
            <a:gsLst>
              <a:gs pos="0">
                <a:srgbClr val="1E4C9E"/>
              </a:gs>
              <a:gs pos="38000">
                <a:srgbClr val="1C4A99"/>
              </a:gs>
              <a:gs pos="83000">
                <a:srgbClr val="052C5B"/>
              </a:gs>
              <a:gs pos="100000">
                <a:srgbClr val="052C5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FD4253B-5836-0731-78C7-23054B68361C}"/>
              </a:ext>
            </a:extLst>
          </p:cNvPr>
          <p:cNvSpPr/>
          <p:nvPr userDrawn="1"/>
        </p:nvSpPr>
        <p:spPr>
          <a:xfrm>
            <a:off x="-9543" y="6366561"/>
            <a:ext cx="12216291" cy="5141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99B17E29-145F-8926-2B10-7A2D962F55FC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B80C6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8462934C-1A5A-8F80-988D-83852AC858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450014"/>
            <a:ext cx="5142370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buNone/>
              <a:defRPr sz="2200" b="1" i="0" spc="0" baseline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Aims and objectiv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1BFFE25-572D-0894-FB03-0FEE3E0245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6050" y="1150550"/>
            <a:ext cx="5142370" cy="4853086"/>
          </a:xfrm>
          <a:prstGeom prst="rect">
            <a:avLst/>
          </a:prstGeom>
        </p:spPr>
        <p:txBody>
          <a:bodyPr lIns="0"/>
          <a:lstStyle>
            <a:lvl1pPr marL="100012" indent="-28575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D3307C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a paragraph of text here.</a:t>
            </a:r>
          </a:p>
        </p:txBody>
      </p:sp>
      <p:sp>
        <p:nvSpPr>
          <p:cNvPr id="7" name="Picture Placeholder 25">
            <a:extLst>
              <a:ext uri="{FF2B5EF4-FFF2-40B4-BE49-F238E27FC236}">
                <a16:creationId xmlns:a16="http://schemas.microsoft.com/office/drawing/2014/main" id="{025C7FBB-73ED-6CE8-DDD7-DC08B33022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11563" y="0"/>
            <a:ext cx="6166163" cy="6344129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1B05DD95-033E-1B3F-DBD5-6716AEBAA79E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tx1"/>
                </a:solidFill>
              </a:rPr>
              <a:t> </a:t>
            </a:r>
            <a:endParaRPr lang="en-US" b="0" i="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F134496-8A52-5BAD-ECAD-ABA7FE3B4AC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33510BB-0319-FD8C-8A67-6EC6136B3F8E}"/>
              </a:ext>
            </a:extLst>
          </p:cNvPr>
          <p:cNvCxnSpPr>
            <a:cxnSpLocks/>
          </p:cNvCxnSpPr>
          <p:nvPr userDrawn="1"/>
        </p:nvCxnSpPr>
        <p:spPr>
          <a:xfrm>
            <a:off x="3234407" y="649190"/>
            <a:ext cx="806501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blue and black logo&#10;&#10;Description automatically generated">
            <a:extLst>
              <a:ext uri="{FF2B5EF4-FFF2-40B4-BE49-F238E27FC236}">
                <a16:creationId xmlns:a16="http://schemas.microsoft.com/office/drawing/2014/main" id="{32F3CD0D-F28A-315C-BFFD-FA8A2A696B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5011" y="6459579"/>
            <a:ext cx="788054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814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orient="horz" pos="255" userDrawn="1">
          <p15:clr>
            <a:srgbClr val="FBAE40"/>
          </p15:clr>
        </p15:guide>
        <p15:guide id="4" orient="horz" pos="2387" userDrawn="1">
          <p15:clr>
            <a:srgbClr val="FBAE40"/>
          </p15:clr>
        </p15:guide>
        <p15:guide id="8" orient="horz" pos="3838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KPI Dashboar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02B1019-6459-C057-E622-0B0845389D89}"/>
              </a:ext>
            </a:extLst>
          </p:cNvPr>
          <p:cNvSpPr/>
          <p:nvPr userDrawn="1"/>
        </p:nvSpPr>
        <p:spPr>
          <a:xfrm>
            <a:off x="-9543" y="286"/>
            <a:ext cx="12213266" cy="68792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Picture Placeholder 25">
            <a:extLst>
              <a:ext uri="{FF2B5EF4-FFF2-40B4-BE49-F238E27FC236}">
                <a16:creationId xmlns:a16="http://schemas.microsoft.com/office/drawing/2014/main" id="{992A4BED-CA80-5AD8-2089-E781A3265B0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11563" y="0"/>
            <a:ext cx="6166163" cy="6344129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99B17E29-145F-8926-2B10-7A2D962F55FC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B80C6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8462934C-1A5A-8F80-988D-83852AC858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450014"/>
            <a:ext cx="5142370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buNone/>
              <a:defRPr sz="2200" b="1" i="0" spc="0" baseline="0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Aims and objectiv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1BFFE25-572D-0894-FB03-0FEE3E0245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6050" y="1150550"/>
            <a:ext cx="5142370" cy="4853086"/>
          </a:xfrm>
          <a:prstGeom prst="rect">
            <a:avLst/>
          </a:prstGeom>
        </p:spPr>
        <p:txBody>
          <a:bodyPr lIns="0"/>
          <a:lstStyle>
            <a:lvl1pPr marL="100012" indent="-28575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D3307C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a paragraph of text here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33510BB-0319-FD8C-8A67-6EC6136B3F8E}"/>
              </a:ext>
            </a:extLst>
          </p:cNvPr>
          <p:cNvCxnSpPr>
            <a:cxnSpLocks/>
          </p:cNvCxnSpPr>
          <p:nvPr userDrawn="1"/>
        </p:nvCxnSpPr>
        <p:spPr>
          <a:xfrm>
            <a:off x="3234407" y="649190"/>
            <a:ext cx="8065015" cy="0"/>
          </a:xfrm>
          <a:prstGeom prst="line">
            <a:avLst/>
          </a:prstGeom>
          <a:ln w="12700">
            <a:solidFill>
              <a:srgbClr val="D330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70836CA8-1C23-9F39-0D5F-4DF9CB6B0438}"/>
              </a:ext>
            </a:extLst>
          </p:cNvPr>
          <p:cNvSpPr/>
          <p:nvPr userDrawn="1"/>
        </p:nvSpPr>
        <p:spPr>
          <a:xfrm>
            <a:off x="-9543" y="6358877"/>
            <a:ext cx="12216291" cy="514157"/>
          </a:xfrm>
          <a:prstGeom prst="rect">
            <a:avLst/>
          </a:prstGeom>
          <a:gradFill>
            <a:gsLst>
              <a:gs pos="65515">
                <a:srgbClr val="0A2D71"/>
              </a:gs>
              <a:gs pos="43000">
                <a:srgbClr val="002060"/>
              </a:gs>
              <a:gs pos="25000">
                <a:srgbClr val="1A428A"/>
              </a:gs>
              <a:gs pos="0">
                <a:srgbClr val="2A67D6"/>
              </a:gs>
              <a:gs pos="100000">
                <a:srgbClr val="01216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7B32DFDF-7092-8E09-A54C-2E68F9F1C0C8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53124AD-08A7-282B-50F7-5997FD4702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DBEE51-52F6-D31D-E0D6-1E537CA56D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72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orient="horz" pos="255" userDrawn="1">
          <p15:clr>
            <a:srgbClr val="FBAE40"/>
          </p15:clr>
        </p15:guide>
        <p15:guide id="4" orient="horz" pos="2387" userDrawn="1">
          <p15:clr>
            <a:srgbClr val="FBAE40"/>
          </p15:clr>
        </p15:guide>
        <p15:guide id="8" orient="horz" pos="383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bg>
      <p:bgPr>
        <a:gradFill>
          <a:gsLst>
            <a:gs pos="0">
              <a:srgbClr val="2256B4"/>
            </a:gs>
            <a:gs pos="74000">
              <a:srgbClr val="052C5B"/>
            </a:gs>
            <a:gs pos="83000">
              <a:srgbClr val="052C5B"/>
            </a:gs>
            <a:gs pos="100000">
              <a:srgbClr val="052C5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A0288EC-B77C-8811-FCA5-5DDA7BF657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992103" y="2580327"/>
            <a:ext cx="2207795" cy="246979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2121C81-0F11-EE3E-540D-BBE58073D8E6}"/>
              </a:ext>
            </a:extLst>
          </p:cNvPr>
          <p:cNvSpPr txBox="1"/>
          <p:nvPr userDrawn="1"/>
        </p:nvSpPr>
        <p:spPr>
          <a:xfrm>
            <a:off x="6068542" y="3264889"/>
            <a:ext cx="57099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000" b="1" dirty="0">
                <a:solidFill>
                  <a:schemeClr val="accent2"/>
                </a:solidFill>
              </a:rPr>
              <a:t>W</a:t>
            </a:r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68D4279D-57C1-86DE-8A4B-4153A2280103}"/>
              </a:ext>
            </a:extLst>
          </p:cNvPr>
          <p:cNvSpPr/>
          <p:nvPr userDrawn="1"/>
        </p:nvSpPr>
        <p:spPr>
          <a:xfrm rot="5400000">
            <a:off x="-45018" y="49503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E0CA93A-7C29-81BC-0A71-243A30E8B36B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25491"/>
            <a:ext cx="0" cy="518423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E88751F3-8098-8011-3C5C-73A369377D3D}"/>
              </a:ext>
            </a:extLst>
          </p:cNvPr>
          <p:cNvSpPr/>
          <p:nvPr userDrawn="1"/>
        </p:nvSpPr>
        <p:spPr>
          <a:xfrm>
            <a:off x="378050" y="1408139"/>
            <a:ext cx="20455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  <a:ea typeface="Cambria" panose="02040503050406030204" pitchFamily="18" charset="0"/>
              </a:rPr>
              <a:t>STRENGTHS</a:t>
            </a:r>
            <a:endParaRPr lang="en-IN" sz="1600" b="1" dirty="0">
              <a:solidFill>
                <a:schemeClr val="bg1"/>
              </a:solidFill>
              <a:latin typeface="+mj-lt"/>
              <a:ea typeface="Cambria" panose="020405030504060302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29839CB-30F0-735E-3447-C8AF24E25FFA}"/>
              </a:ext>
            </a:extLst>
          </p:cNvPr>
          <p:cNvSpPr/>
          <p:nvPr userDrawn="1"/>
        </p:nvSpPr>
        <p:spPr>
          <a:xfrm>
            <a:off x="9487172" y="4013168"/>
            <a:ext cx="23019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solidFill>
                  <a:schemeClr val="bg1"/>
                </a:solidFill>
                <a:latin typeface="+mj-lt"/>
                <a:ea typeface="Cambria" panose="02040503050406030204" pitchFamily="18" charset="0"/>
              </a:rPr>
              <a:t>THREATS</a:t>
            </a:r>
            <a:endParaRPr lang="en-IN" sz="1600" b="1" dirty="0">
              <a:solidFill>
                <a:schemeClr val="bg1"/>
              </a:solidFill>
              <a:latin typeface="+mj-lt"/>
              <a:ea typeface="Cambria" panose="020405030504060302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FAB9D0-861D-E71F-D879-295CD2ACCBCA}"/>
              </a:ext>
            </a:extLst>
          </p:cNvPr>
          <p:cNvSpPr/>
          <p:nvPr userDrawn="1"/>
        </p:nvSpPr>
        <p:spPr>
          <a:xfrm>
            <a:off x="9747594" y="1407395"/>
            <a:ext cx="20455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solidFill>
                  <a:schemeClr val="bg1"/>
                </a:solidFill>
                <a:latin typeface="+mj-lt"/>
                <a:ea typeface="Cambria" panose="02040503050406030204" pitchFamily="18" charset="0"/>
              </a:rPr>
              <a:t>WEAKNESSES</a:t>
            </a:r>
            <a:endParaRPr lang="en-IN" sz="1600" b="1" dirty="0">
              <a:solidFill>
                <a:schemeClr val="bg1"/>
              </a:solidFill>
              <a:latin typeface="+mj-lt"/>
              <a:ea typeface="Cambria" panose="020405030504060302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AF7FBFF-B99F-0AFC-8B07-8E62DAF161D3}"/>
              </a:ext>
            </a:extLst>
          </p:cNvPr>
          <p:cNvSpPr/>
          <p:nvPr userDrawn="1"/>
        </p:nvSpPr>
        <p:spPr>
          <a:xfrm>
            <a:off x="378049" y="4013168"/>
            <a:ext cx="20455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  <a:ea typeface="Cambria" panose="02040503050406030204" pitchFamily="18" charset="0"/>
              </a:rPr>
              <a:t>OPPORTUNITIES</a:t>
            </a:r>
            <a:endParaRPr lang="en-IN" sz="1600" b="1" dirty="0">
              <a:solidFill>
                <a:schemeClr val="bg1"/>
              </a:solidFill>
              <a:latin typeface="+mj-lt"/>
              <a:ea typeface="Cambria" panose="020405030504060302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D4959B-E6A7-4589-F881-EF1128CDEFE6}"/>
              </a:ext>
            </a:extLst>
          </p:cNvPr>
          <p:cNvSpPr txBox="1"/>
          <p:nvPr userDrawn="1"/>
        </p:nvSpPr>
        <p:spPr>
          <a:xfrm>
            <a:off x="5664545" y="3250129"/>
            <a:ext cx="47641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000" b="1" dirty="0">
                <a:solidFill>
                  <a:srgbClr val="478F00"/>
                </a:solidFill>
              </a:rPr>
              <a:t>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710472B-B826-262B-9C57-4B2181257405}"/>
              </a:ext>
            </a:extLst>
          </p:cNvPr>
          <p:cNvSpPr txBox="1"/>
          <p:nvPr userDrawn="1"/>
        </p:nvSpPr>
        <p:spPr>
          <a:xfrm>
            <a:off x="5639617" y="3781065"/>
            <a:ext cx="47641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000" b="1" dirty="0">
                <a:solidFill>
                  <a:srgbClr val="5DBE00"/>
                </a:solidFill>
              </a:rPr>
              <a:t>O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077C516-48D7-2F3D-C6D8-B283D31BA62A}"/>
              </a:ext>
            </a:extLst>
          </p:cNvPr>
          <p:cNvSpPr txBox="1"/>
          <p:nvPr userDrawn="1"/>
        </p:nvSpPr>
        <p:spPr>
          <a:xfrm>
            <a:off x="6117213" y="3778029"/>
            <a:ext cx="41069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000" b="1" dirty="0">
                <a:solidFill>
                  <a:schemeClr val="accent2">
                    <a:lumMod val="75000"/>
                  </a:schemeClr>
                </a:solidFill>
              </a:rPr>
              <a:t>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98C0FDA-158E-2A9E-B984-1D05BF7C5876}"/>
              </a:ext>
            </a:extLst>
          </p:cNvPr>
          <p:cNvCxnSpPr>
            <a:cxnSpLocks/>
          </p:cNvCxnSpPr>
          <p:nvPr userDrawn="1"/>
        </p:nvCxnSpPr>
        <p:spPr>
          <a:xfrm>
            <a:off x="377373" y="3817605"/>
            <a:ext cx="11437257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BE2B100-D04B-B11F-FF84-A9879B444E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450014"/>
            <a:ext cx="11133568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" name="Text Placeholder 32">
            <a:extLst>
              <a:ext uri="{FF2B5EF4-FFF2-40B4-BE49-F238E27FC236}">
                <a16:creationId xmlns:a16="http://schemas.microsoft.com/office/drawing/2014/main" id="{3691E0D3-32E5-2B38-7741-AAFFD32B56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158" y="957509"/>
            <a:ext cx="11130459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ED7C987-E369-C729-69C2-7A15E8AED3DC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D19D7A-0C94-6375-44C2-EBCFE737A6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0E751F6-B390-036C-7035-13752D74AA2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1874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784638E1-61E9-D367-732F-C606EA68E0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992103" y="2588003"/>
            <a:ext cx="2207795" cy="2469795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F5DBB5F-4203-E2E1-DE9C-4C9C33E22634}"/>
              </a:ext>
            </a:extLst>
          </p:cNvPr>
          <p:cNvCxnSpPr>
            <a:cxnSpLocks/>
          </p:cNvCxnSpPr>
          <p:nvPr userDrawn="1"/>
        </p:nvCxnSpPr>
        <p:spPr>
          <a:xfrm>
            <a:off x="377373" y="3825281"/>
            <a:ext cx="11437257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5F9034D-6FDD-CA18-05D9-D539D5F554CF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3167"/>
            <a:ext cx="0" cy="518423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9DEF50AF-61A0-45E9-957C-1F5544F6B7D3}"/>
              </a:ext>
            </a:extLst>
          </p:cNvPr>
          <p:cNvSpPr/>
          <p:nvPr userDrawn="1"/>
        </p:nvSpPr>
        <p:spPr>
          <a:xfrm>
            <a:off x="9487172" y="4020844"/>
            <a:ext cx="23019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solidFill>
                  <a:schemeClr val="tx1"/>
                </a:solidFill>
                <a:latin typeface="+mj-lt"/>
                <a:ea typeface="Cambria" panose="02040503050406030204" pitchFamily="18" charset="0"/>
              </a:rPr>
              <a:t>THREATS</a:t>
            </a:r>
            <a:endParaRPr lang="en-IN" sz="1600" b="1" dirty="0">
              <a:solidFill>
                <a:schemeClr val="tx1"/>
              </a:solidFill>
              <a:latin typeface="+mj-lt"/>
              <a:ea typeface="Cambria" panose="02040503050406030204" pitchFamily="18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773F429-6329-FE5B-3F67-00C6EDCFBE38}"/>
              </a:ext>
            </a:extLst>
          </p:cNvPr>
          <p:cNvSpPr/>
          <p:nvPr userDrawn="1"/>
        </p:nvSpPr>
        <p:spPr>
          <a:xfrm>
            <a:off x="378049" y="4020844"/>
            <a:ext cx="20455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ea typeface="Cambria" panose="02040503050406030204" pitchFamily="18" charset="0"/>
              </a:rPr>
              <a:t>OPPORTUNITIES</a:t>
            </a:r>
            <a:endParaRPr lang="en-IN" sz="1600" b="1" dirty="0">
              <a:solidFill>
                <a:schemeClr val="tx1"/>
              </a:solidFill>
              <a:latin typeface="+mj-lt"/>
              <a:ea typeface="Cambria" panose="02040503050406030204" pitchFamily="18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D0AA905-2172-4B65-5A87-724397D171A3}"/>
              </a:ext>
            </a:extLst>
          </p:cNvPr>
          <p:cNvSpPr/>
          <p:nvPr userDrawn="1"/>
        </p:nvSpPr>
        <p:spPr>
          <a:xfrm>
            <a:off x="5584698" y="3314910"/>
            <a:ext cx="967688" cy="9676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8B403D0-B0A5-95A6-C4C3-1B227A7F5EB0}"/>
              </a:ext>
            </a:extLst>
          </p:cNvPr>
          <p:cNvSpPr txBox="1"/>
          <p:nvPr userDrawn="1"/>
        </p:nvSpPr>
        <p:spPr>
          <a:xfrm>
            <a:off x="5664545" y="3257805"/>
            <a:ext cx="47641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000" b="1" dirty="0">
                <a:solidFill>
                  <a:srgbClr val="478F00"/>
                </a:solidFill>
              </a:rPr>
              <a:t>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3327A4-DAE6-ECBA-9ADC-C98797ED2539}"/>
              </a:ext>
            </a:extLst>
          </p:cNvPr>
          <p:cNvSpPr txBox="1"/>
          <p:nvPr userDrawn="1"/>
        </p:nvSpPr>
        <p:spPr>
          <a:xfrm>
            <a:off x="6068542" y="3272565"/>
            <a:ext cx="57099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000" b="1" dirty="0">
                <a:solidFill>
                  <a:schemeClr val="accent2"/>
                </a:solidFill>
              </a:rPr>
              <a:t>W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B754C6-D16D-DD75-EF91-3DFD3E4A64EB}"/>
              </a:ext>
            </a:extLst>
          </p:cNvPr>
          <p:cNvSpPr txBox="1"/>
          <p:nvPr userDrawn="1"/>
        </p:nvSpPr>
        <p:spPr>
          <a:xfrm>
            <a:off x="5639617" y="3788741"/>
            <a:ext cx="47641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000" b="1" dirty="0">
                <a:solidFill>
                  <a:srgbClr val="5DBE00"/>
                </a:solidFill>
              </a:rPr>
              <a:t>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76144E-9180-A345-10E3-E5076272E685}"/>
              </a:ext>
            </a:extLst>
          </p:cNvPr>
          <p:cNvSpPr txBox="1"/>
          <p:nvPr userDrawn="1"/>
        </p:nvSpPr>
        <p:spPr>
          <a:xfrm>
            <a:off x="6117213" y="3785705"/>
            <a:ext cx="41069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000" b="1" dirty="0">
                <a:solidFill>
                  <a:schemeClr val="accent2">
                    <a:lumMod val="75000"/>
                  </a:schemeClr>
                </a:solidFill>
              </a:rPr>
              <a:t>T</a:t>
            </a: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F0563F3F-E026-D799-6D32-FF7E3104B0DE}"/>
              </a:ext>
            </a:extLst>
          </p:cNvPr>
          <p:cNvSpPr/>
          <p:nvPr userDrawn="1"/>
        </p:nvSpPr>
        <p:spPr>
          <a:xfrm rot="5400000">
            <a:off x="-45018" y="49503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C6C89F-1B56-2D13-B9B5-1249D18C98EE}"/>
              </a:ext>
            </a:extLst>
          </p:cNvPr>
          <p:cNvSpPr/>
          <p:nvPr userDrawn="1"/>
        </p:nvSpPr>
        <p:spPr>
          <a:xfrm>
            <a:off x="378050" y="1415815"/>
            <a:ext cx="20455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ea typeface="Cambria" panose="02040503050406030204" pitchFamily="18" charset="0"/>
              </a:rPr>
              <a:t>STRENGTHS</a:t>
            </a:r>
            <a:endParaRPr lang="en-IN" sz="1600" b="1" dirty="0">
              <a:solidFill>
                <a:schemeClr val="tx1"/>
              </a:solidFill>
              <a:latin typeface="+mj-lt"/>
              <a:ea typeface="Cambria" panose="020405030504060302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9EDDEA-4956-3A21-BAF6-BFCDF7369D8B}"/>
              </a:ext>
            </a:extLst>
          </p:cNvPr>
          <p:cNvSpPr/>
          <p:nvPr userDrawn="1"/>
        </p:nvSpPr>
        <p:spPr>
          <a:xfrm>
            <a:off x="9747594" y="1415071"/>
            <a:ext cx="20455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solidFill>
                  <a:schemeClr val="tx1"/>
                </a:solidFill>
                <a:latin typeface="+mj-lt"/>
                <a:ea typeface="Cambria" panose="02040503050406030204" pitchFamily="18" charset="0"/>
              </a:rPr>
              <a:t>WEAKNESSES</a:t>
            </a:r>
            <a:endParaRPr lang="en-IN" sz="1600" b="1" dirty="0">
              <a:solidFill>
                <a:schemeClr val="tx1"/>
              </a:solidFill>
              <a:latin typeface="+mj-lt"/>
              <a:ea typeface="Cambria" panose="02040503050406030204" pitchFamily="18" charset="0"/>
            </a:endParaRP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0587BD2F-C2C7-1845-EA82-E92EB4AC80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50" y="450014"/>
            <a:ext cx="11133568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7" name="Text Placeholder 32">
            <a:extLst>
              <a:ext uri="{FF2B5EF4-FFF2-40B4-BE49-F238E27FC236}">
                <a16:creationId xmlns:a16="http://schemas.microsoft.com/office/drawing/2014/main" id="{D2E3DD53-277F-20B3-1354-F8FCFEBE90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158" y="957509"/>
            <a:ext cx="11130459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8715898-358B-E756-1D4E-FF08685F2F5C}"/>
              </a:ext>
            </a:extLst>
          </p:cNvPr>
          <p:cNvSpPr/>
          <p:nvPr userDrawn="1"/>
        </p:nvSpPr>
        <p:spPr>
          <a:xfrm>
            <a:off x="-9543" y="6358877"/>
            <a:ext cx="12216291" cy="514157"/>
          </a:xfrm>
          <a:prstGeom prst="rect">
            <a:avLst/>
          </a:prstGeom>
          <a:gradFill>
            <a:gsLst>
              <a:gs pos="65515">
                <a:srgbClr val="0A2D71"/>
              </a:gs>
              <a:gs pos="43000">
                <a:srgbClr val="002060"/>
              </a:gs>
              <a:gs pos="25000">
                <a:srgbClr val="1A428A"/>
              </a:gs>
              <a:gs pos="0">
                <a:srgbClr val="2A67D6"/>
              </a:gs>
              <a:gs pos="100000">
                <a:srgbClr val="01216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3B888177-821B-4E07-2329-08974C6B8A9B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C7216BEB-65B3-87D1-D99B-E15CD9B6EAF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99288725-598B-47BC-58DE-09F5DCA235E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8882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obile placeholder white">
    <p:bg>
      <p:bgPr>
        <a:gradFill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A428A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96D15F23-1B0F-D2D7-289B-765870287B90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B80C6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F7AE02D8-05D2-E945-352D-A094A8657DA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49" y="450014"/>
            <a:ext cx="4122527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Text Placeholder 32">
            <a:extLst>
              <a:ext uri="{FF2B5EF4-FFF2-40B4-BE49-F238E27FC236}">
                <a16:creationId xmlns:a16="http://schemas.microsoft.com/office/drawing/2014/main" id="{C3132BFE-AC39-A4AD-14F6-ECE3740A8E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159" y="957509"/>
            <a:ext cx="4119177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pic>
        <p:nvPicPr>
          <p:cNvPr id="19" name="Picture 18" descr="A white rectangular object with red green and yellow dots&#10;&#10;Description automatically generated">
            <a:extLst>
              <a:ext uri="{FF2B5EF4-FFF2-40B4-BE49-F238E27FC236}">
                <a16:creationId xmlns:a16="http://schemas.microsoft.com/office/drawing/2014/main" id="{CB43187B-87A0-D168-0EB4-0770C193F0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3251" t="22203" r="22062" b="23125"/>
          <a:stretch/>
        </p:blipFill>
        <p:spPr>
          <a:xfrm>
            <a:off x="7982806" y="653649"/>
            <a:ext cx="417843" cy="705292"/>
          </a:xfrm>
          <a:prstGeom prst="rect">
            <a:avLst/>
          </a:prstGeom>
        </p:spPr>
      </p:pic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78057D2-014C-BFA1-BAFD-BB4CDBE51B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2055" y="1629454"/>
            <a:ext cx="4119177" cy="4271038"/>
          </a:xfrm>
          <a:prstGeom prst="rect">
            <a:avLst/>
          </a:prstGeom>
        </p:spPr>
        <p:txBody>
          <a:bodyPr lIns="0"/>
          <a:lstStyle>
            <a:lvl1pPr mar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a paragraph of text here.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6EF2D49-E34B-A9A4-DAEB-9A893084F1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24416" y="1629454"/>
            <a:ext cx="3635529" cy="4271038"/>
          </a:xfrm>
          <a:prstGeom prst="rect">
            <a:avLst/>
          </a:prstGeom>
        </p:spPr>
        <p:txBody>
          <a:bodyPr lIns="0"/>
          <a:lstStyle>
            <a:lvl1pPr marL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a paragraph of text here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96DC425-1E9E-D512-F725-40155C50363F}"/>
              </a:ext>
            </a:extLst>
          </p:cNvPr>
          <p:cNvGrpSpPr/>
          <p:nvPr userDrawn="1"/>
        </p:nvGrpSpPr>
        <p:grpSpPr>
          <a:xfrm>
            <a:off x="8183626" y="795633"/>
            <a:ext cx="467957" cy="407255"/>
            <a:chOff x="8396344" y="661596"/>
            <a:chExt cx="467957" cy="407255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A9C5392-345C-3BC4-AB58-8411292263B5}"/>
                </a:ext>
              </a:extLst>
            </p:cNvPr>
            <p:cNvCxnSpPr>
              <a:cxnSpLocks/>
            </p:cNvCxnSpPr>
            <p:nvPr/>
          </p:nvCxnSpPr>
          <p:spPr>
            <a:xfrm>
              <a:off x="8396344" y="661596"/>
              <a:ext cx="467957" cy="0"/>
            </a:xfrm>
            <a:prstGeom prst="line">
              <a:avLst/>
            </a:prstGeom>
            <a:ln w="12700">
              <a:solidFill>
                <a:srgbClr val="E6007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5328E8C-D299-F3AB-D02A-24B7CA5FCD33}"/>
                </a:ext>
              </a:extLst>
            </p:cNvPr>
            <p:cNvCxnSpPr>
              <a:cxnSpLocks/>
            </p:cNvCxnSpPr>
            <p:nvPr/>
          </p:nvCxnSpPr>
          <p:spPr>
            <a:xfrm>
              <a:off x="8396344" y="868043"/>
              <a:ext cx="467957" cy="0"/>
            </a:xfrm>
            <a:prstGeom prst="line">
              <a:avLst/>
            </a:prstGeom>
            <a:ln w="12700">
              <a:solidFill>
                <a:srgbClr val="E6007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E856597-83E8-3A3D-5365-42D810764BFF}"/>
                </a:ext>
              </a:extLst>
            </p:cNvPr>
            <p:cNvCxnSpPr>
              <a:cxnSpLocks/>
            </p:cNvCxnSpPr>
            <p:nvPr/>
          </p:nvCxnSpPr>
          <p:spPr>
            <a:xfrm>
              <a:off x="8396344" y="1068851"/>
              <a:ext cx="467957" cy="0"/>
            </a:xfrm>
            <a:prstGeom prst="line">
              <a:avLst/>
            </a:prstGeom>
            <a:ln w="12700">
              <a:solidFill>
                <a:srgbClr val="E6007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C4D3850C-D1CA-D12B-24D0-38E7A90C0CA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73954" y="751877"/>
            <a:ext cx="2861486" cy="137957"/>
          </a:xfrm>
          <a:prstGeom prst="rect">
            <a:avLst/>
          </a:prstGeom>
        </p:spPr>
        <p:txBody>
          <a:bodyPr lIns="0"/>
          <a:lstStyle>
            <a:lvl1pPr mar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a paragraph of text here.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CDC7155F-A62F-6FBD-7135-6DFEE7AA26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73954" y="958508"/>
            <a:ext cx="2861486" cy="137957"/>
          </a:xfrm>
          <a:prstGeom prst="rect">
            <a:avLst/>
          </a:prstGeom>
        </p:spPr>
        <p:txBody>
          <a:bodyPr lIns="0"/>
          <a:lstStyle>
            <a:lvl1pPr mar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a paragraph of text here.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280DB9C6-0888-E0D6-5DE8-64A097B004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73954" y="1159822"/>
            <a:ext cx="2861486" cy="137957"/>
          </a:xfrm>
          <a:prstGeom prst="rect">
            <a:avLst/>
          </a:prstGeom>
        </p:spPr>
        <p:txBody>
          <a:bodyPr lIns="0"/>
          <a:lstStyle>
            <a:lvl1pPr mar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GB" dirty="0"/>
              <a:t>Add a paragraph of text here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095DEB7-9D96-4A0F-1C0B-69A3E754CEA8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BB64C1E-9D02-A57F-60A0-8036275232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C5E5B0-F7E3-ED6C-D9F4-1BC5D50531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796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bile placeholder white">
    <p:bg>
      <p:bgPr>
        <a:gradFill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A428A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96D15F23-1B0F-D2D7-289B-765870287B90}"/>
              </a:ext>
            </a:extLst>
          </p:cNvPr>
          <p:cNvSpPr/>
          <p:nvPr userDrawn="1"/>
        </p:nvSpPr>
        <p:spPr>
          <a:xfrm rot="5400000">
            <a:off x="-45018" y="493802"/>
            <a:ext cx="303400" cy="213364"/>
          </a:xfrm>
          <a:prstGeom prst="triangle">
            <a:avLst/>
          </a:prstGeom>
          <a:solidFill>
            <a:srgbClr val="B80C6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F7AE02D8-05D2-E945-352D-A094A8657DA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6049" y="450014"/>
            <a:ext cx="4122527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buNone/>
              <a:defRPr sz="2200" b="1" i="0" spc="0" baseline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Text Placeholder 32">
            <a:extLst>
              <a:ext uri="{FF2B5EF4-FFF2-40B4-BE49-F238E27FC236}">
                <a16:creationId xmlns:a16="http://schemas.microsoft.com/office/drawing/2014/main" id="{C3132BFE-AC39-A4AD-14F6-ECE3740A8E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159" y="957509"/>
            <a:ext cx="4119177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DFC7C17-576E-13DB-DBC5-4FC7D1B75577}"/>
              </a:ext>
            </a:extLst>
          </p:cNvPr>
          <p:cNvSpPr txBox="1">
            <a:spLocks/>
          </p:cNvSpPr>
          <p:nvPr userDrawn="1"/>
        </p:nvSpPr>
        <p:spPr>
          <a:xfrm>
            <a:off x="9480376" y="6296716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chemeClr val="bg1"/>
                </a:solidFill>
              </a:rPr>
              <a:t> </a:t>
            </a:r>
            <a:endParaRPr lang="en-US" b="0" i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4A75632-92C3-71EA-D73D-908502C009C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91245" y="6591645"/>
            <a:ext cx="4750285" cy="181584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18EFF30-ABB4-1E94-77F0-2A4EE29049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10" y="6461442"/>
            <a:ext cx="771285" cy="28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696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888D016-0D3F-2B70-5011-F6FBE019E73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t="35056"/>
          <a:stretch/>
        </p:blipFill>
        <p:spPr>
          <a:xfrm>
            <a:off x="0" y="0"/>
            <a:ext cx="12192000" cy="5268119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268118"/>
            <a:ext cx="12192000" cy="1621166"/>
          </a:xfrm>
          <a:prstGeom prst="rect">
            <a:avLst/>
          </a:prstGeom>
          <a:gradFill>
            <a:gsLst>
              <a:gs pos="100000">
                <a:srgbClr val="002060"/>
              </a:gs>
              <a:gs pos="56000">
                <a:srgbClr val="1A428A"/>
              </a:gs>
              <a:gs pos="0">
                <a:srgbClr val="012161"/>
              </a:gs>
              <a:gs pos="100000">
                <a:srgbClr val="1A428A"/>
              </a:gs>
            </a:gsLst>
            <a:lin ang="10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593059" y="554183"/>
            <a:ext cx="8125200" cy="5787100"/>
          </a:xfrm>
          <a:prstGeom prst="rect">
            <a:avLst/>
          </a:prstGeom>
          <a:gradFill flip="none" rotWithShape="1">
            <a:gsLst>
              <a:gs pos="0">
                <a:srgbClr val="2256B4"/>
              </a:gs>
              <a:gs pos="100000">
                <a:srgbClr val="012161"/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6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684951"/>
            <a:ext cx="3778436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additional info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79537" y="3477316"/>
            <a:ext cx="7194787" cy="117310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defRPr sz="3500" b="1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Enter the </a:t>
            </a:r>
            <a:br>
              <a:rPr lang="en-US" dirty="0"/>
            </a:br>
            <a:r>
              <a:rPr lang="en-US" dirty="0"/>
              <a:t>title he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8CB726F-C7B7-1D5B-DD90-693496F2E17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09819" y="949963"/>
            <a:ext cx="1926006" cy="722252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06AF17E5-2671-201E-701D-BAA48226DF5E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8810624" y="5781997"/>
            <a:ext cx="2949815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0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8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echoresearch.com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3F3B38-9B75-2DA1-1220-5F3C319E754D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4787476" y="5672630"/>
            <a:ext cx="3778436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0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8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5071733" y="949963"/>
            <a:ext cx="3381153" cy="722252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ent Logo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DBA497C2-03F0-9EC9-994A-03993F6345A2}"/>
              </a:ext>
            </a:extLst>
          </p:cNvPr>
          <p:cNvSpPr/>
          <p:nvPr userDrawn="1"/>
        </p:nvSpPr>
        <p:spPr>
          <a:xfrm rot="5400000">
            <a:off x="-45018" y="3762335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82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AE35C09-C60F-5486-CB08-AF6348556DE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t="14048"/>
          <a:stretch/>
        </p:blipFill>
        <p:spPr>
          <a:xfrm>
            <a:off x="2822" y="0"/>
            <a:ext cx="1218600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3176" y="5276850"/>
            <a:ext cx="12188824" cy="1581150"/>
          </a:xfrm>
          <a:prstGeom prst="rect">
            <a:avLst/>
          </a:prstGeom>
          <a:gradFill>
            <a:gsLst>
              <a:gs pos="100000">
                <a:srgbClr val="002060"/>
              </a:gs>
              <a:gs pos="56000">
                <a:srgbClr val="1A428A"/>
              </a:gs>
              <a:gs pos="0">
                <a:srgbClr val="012161"/>
              </a:gs>
              <a:gs pos="100000">
                <a:srgbClr val="1A428A"/>
              </a:gs>
            </a:gsLst>
            <a:lin ang="10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775594" y="792688"/>
            <a:ext cx="8125200" cy="5787100"/>
          </a:xfrm>
          <a:prstGeom prst="rect">
            <a:avLst/>
          </a:prstGeom>
          <a:gradFill flip="none" rotWithShape="1">
            <a:gsLst>
              <a:gs pos="0">
                <a:srgbClr val="2256B4"/>
              </a:gs>
              <a:gs pos="100000">
                <a:srgbClr val="012161"/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6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8CB726F-C7B7-1D5B-DD90-693496F2E17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17563" y="1398379"/>
            <a:ext cx="2066609" cy="774978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06AF17E5-2671-201E-701D-BAA48226DF5E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8900794" y="5490121"/>
            <a:ext cx="2949815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0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8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echoresearch.com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3F3B38-9B75-2DA1-1220-5F3C319E754D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4787476" y="5672630"/>
            <a:ext cx="3778436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0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8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3AB4EE6-7FD3-F293-483A-CF9171878D9E}"/>
              </a:ext>
            </a:extLst>
          </p:cNvPr>
          <p:cNvGrpSpPr/>
          <p:nvPr userDrawn="1"/>
        </p:nvGrpSpPr>
        <p:grpSpPr>
          <a:xfrm>
            <a:off x="6442479" y="5802307"/>
            <a:ext cx="2037707" cy="363945"/>
            <a:chOff x="6442479" y="5802307"/>
            <a:chExt cx="2037707" cy="363945"/>
          </a:xfrm>
        </p:grpSpPr>
        <p:pic>
          <p:nvPicPr>
            <p:cNvPr id="8" name="Picture 7" descr="A white arrow in a pink circle&#10;&#10;Description automatically generated">
              <a:hlinkClick r:id="rId8"/>
              <a:extLst>
                <a:ext uri="{FF2B5EF4-FFF2-40B4-BE49-F238E27FC236}">
                  <a16:creationId xmlns:a16="http://schemas.microsoft.com/office/drawing/2014/main" id="{A2C0D8CE-3B65-A5D5-F788-6F480E4C95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8120186" y="5802308"/>
              <a:ext cx="360000" cy="360000"/>
            </a:xfrm>
            <a:prstGeom prst="rect">
              <a:avLst/>
            </a:prstGeom>
          </p:spPr>
        </p:pic>
        <p:pic>
          <p:nvPicPr>
            <p:cNvPr id="10" name="Picture 9" descr="A pink circle with a white x in it&#10;&#10;Description automatically generated">
              <a:hlinkClick r:id="rId10"/>
              <a:extLst>
                <a:ext uri="{FF2B5EF4-FFF2-40B4-BE49-F238E27FC236}">
                  <a16:creationId xmlns:a16="http://schemas.microsoft.com/office/drawing/2014/main" id="{AC6BA5C4-A6CC-A117-E39B-8023041711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7547224" y="5802308"/>
              <a:ext cx="360000" cy="360000"/>
            </a:xfrm>
            <a:prstGeom prst="rect">
              <a:avLst/>
            </a:prstGeom>
          </p:spPr>
        </p:pic>
        <p:pic>
          <p:nvPicPr>
            <p:cNvPr id="11" name="Picture 10" descr="A pink circle with white letters&#10;&#10;Description automatically generated">
              <a:hlinkClick r:id="rId12"/>
              <a:extLst>
                <a:ext uri="{FF2B5EF4-FFF2-40B4-BE49-F238E27FC236}">
                  <a16:creationId xmlns:a16="http://schemas.microsoft.com/office/drawing/2014/main" id="{09E88816-29A6-2E83-E891-B59DE6ECC9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/>
            <a:stretch>
              <a:fillRect/>
            </a:stretch>
          </p:blipFill>
          <p:spPr>
            <a:xfrm>
              <a:off x="6984073" y="5802308"/>
              <a:ext cx="360000" cy="360000"/>
            </a:xfrm>
            <a:prstGeom prst="rect">
              <a:avLst/>
            </a:prstGeom>
          </p:spPr>
        </p:pic>
        <p:pic>
          <p:nvPicPr>
            <p:cNvPr id="12" name="Picture 11" descr="A pink circle with a white globe in it&#10;&#10;Description automatically generated">
              <a:hlinkClick r:id="rId14"/>
              <a:extLst>
                <a:ext uri="{FF2B5EF4-FFF2-40B4-BE49-F238E27FC236}">
                  <a16:creationId xmlns:a16="http://schemas.microsoft.com/office/drawing/2014/main" id="{C262055C-D796-8269-B9B3-FDA4ED2F79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6442479" y="5802307"/>
              <a:ext cx="363945" cy="363945"/>
            </a:xfrm>
            <a:prstGeom prst="rect">
              <a:avLst/>
            </a:prstGeom>
          </p:spPr>
        </p:pic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FFEF25B7-C82D-96DB-2EDF-92195ECF29CA}"/>
              </a:ext>
            </a:extLst>
          </p:cNvPr>
          <p:cNvSpPr txBox="1"/>
          <p:nvPr userDrawn="1"/>
        </p:nvSpPr>
        <p:spPr>
          <a:xfrm>
            <a:off x="8674910" y="5887810"/>
            <a:ext cx="32902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>
                <a:solidFill>
                  <a:srgbClr val="E6007E"/>
                </a:solidFill>
              </a:rPr>
              <a:t>RESEARCH  INSIGHT  ADVISORY</a:t>
            </a:r>
            <a:endParaRPr lang="en-GB" sz="1400" b="1" dirty="0">
              <a:solidFill>
                <a:srgbClr val="E6007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3AA2647-D8F2-1A3B-242B-CE7B24D8E578}"/>
              </a:ext>
            </a:extLst>
          </p:cNvPr>
          <p:cNvSpPr txBox="1"/>
          <p:nvPr userDrawn="1"/>
        </p:nvSpPr>
        <p:spPr>
          <a:xfrm>
            <a:off x="2238405" y="5814849"/>
            <a:ext cx="35610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LONDON | NEW YORK | ABU DHABI</a:t>
            </a:r>
          </a:p>
        </p:txBody>
      </p:sp>
    </p:spTree>
    <p:extLst>
      <p:ext uri="{BB962C8B-B14F-4D97-AF65-F5344CB8AC3E}">
        <p14:creationId xmlns:p14="http://schemas.microsoft.com/office/powerpoint/2010/main" val="412276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Presentation Cover 2">
    <p:bg>
      <p:bgPr>
        <a:gradFill flip="none" rotWithShape="1"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A428A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5">
            <a:extLst>
              <a:ext uri="{FF2B5EF4-FFF2-40B4-BE49-F238E27FC236}">
                <a16:creationId xmlns:a16="http://schemas.microsoft.com/office/drawing/2014/main" id="{70B0A946-6CC4-5C5E-AAFF-421436FF9C3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203724" cy="329738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CA8D34D-3F36-7844-8EBD-70DF717398AD}"/>
              </a:ext>
            </a:extLst>
          </p:cNvPr>
          <p:cNvSpPr txBox="1"/>
          <p:nvPr userDrawn="1"/>
        </p:nvSpPr>
        <p:spPr>
          <a:xfrm>
            <a:off x="6241774" y="-21866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latin typeface="Segoe UI" panose="020B0502040204020203" pitchFamily="34" charset="0"/>
            </a:endParaRPr>
          </a:p>
        </p:txBody>
      </p:sp>
      <p:sp>
        <p:nvSpPr>
          <p:cNvPr id="11" name="Text Placeholder 32">
            <a:extLst>
              <a:ext uri="{FF2B5EF4-FFF2-40B4-BE49-F238E27FC236}">
                <a16:creationId xmlns:a16="http://schemas.microsoft.com/office/drawing/2014/main" id="{F0C613AC-2CCF-628D-309B-881583ABE1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5789" y="5768148"/>
            <a:ext cx="5819833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+mj-lt"/>
              <a:buNone/>
              <a:defRPr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Click to add additional info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8AB00AC-2B0D-2D9F-55E3-C4D8A5962F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5789" y="4101507"/>
            <a:ext cx="5819833" cy="958967"/>
          </a:xfrm>
          <a:prstGeom prst="rect">
            <a:avLst/>
          </a:prstGeom>
        </p:spPr>
        <p:txBody>
          <a:bodyPr tIns="0" rIns="0" bIns="0" anchor="b" anchorCtr="0">
            <a:noAutofit/>
          </a:bodyPr>
          <a:lstStyle>
            <a:lvl1pPr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defRPr sz="35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add a title on two lines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5C2DCF4-95CC-BE92-3BD2-7BC86E8882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35386" y="4107773"/>
            <a:ext cx="2109044" cy="790893"/>
          </a:xfrm>
          <a:prstGeom prst="rect">
            <a:avLst/>
          </a:prstGeom>
        </p:spPr>
      </p:pic>
      <p:sp>
        <p:nvSpPr>
          <p:cNvPr id="16" name="Text Placeholder 32">
            <a:extLst>
              <a:ext uri="{FF2B5EF4-FFF2-40B4-BE49-F238E27FC236}">
                <a16:creationId xmlns:a16="http://schemas.microsoft.com/office/drawing/2014/main" id="{2CA2F1E5-FCEE-034B-8327-B5C6D103E7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19972" y="5748681"/>
            <a:ext cx="2557636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>
              <a:buNone/>
              <a:defRPr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echoresearch.com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88E352ED-2F1E-4B5F-972E-FADC07AB5162}"/>
              </a:ext>
            </a:extLst>
          </p:cNvPr>
          <p:cNvSpPr/>
          <p:nvPr userDrawn="1"/>
        </p:nvSpPr>
        <p:spPr>
          <a:xfrm rot="5400000">
            <a:off x="-45018" y="4167792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2328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15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ly logo">
    <p:bg>
      <p:bgPr>
        <a:gradFill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A428A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25">
            <a:extLst>
              <a:ext uri="{FF2B5EF4-FFF2-40B4-BE49-F238E27FC236}">
                <a16:creationId xmlns:a16="http://schemas.microsoft.com/office/drawing/2014/main" id="{8269B2CF-28BC-5E6B-5D4F-91209196B2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95213" y="0"/>
            <a:ext cx="4308206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9B7998B-91ED-C6B2-7423-1D073C3C3DAC}"/>
              </a:ext>
            </a:extLst>
          </p:cNvPr>
          <p:cNvSpPr txBox="1"/>
          <p:nvPr userDrawn="1"/>
        </p:nvSpPr>
        <p:spPr>
          <a:xfrm>
            <a:off x="6241774" y="-21866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latin typeface="Segoe UI" panose="020B0502040204020203" pitchFamily="34" charset="0"/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DEB6EA68-60F1-CE21-DC06-2AA868A8D5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7842" y="4331721"/>
            <a:ext cx="5819833" cy="909643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7DA51886-4193-69A6-5D52-0D20E0AEB4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7843" y="2937848"/>
            <a:ext cx="5819833" cy="961038"/>
          </a:xfrm>
          <a:prstGeom prst="rect">
            <a:avLst/>
          </a:prstGeom>
        </p:spPr>
        <p:txBody>
          <a:bodyPr tIns="0" rIns="0" bIns="0" anchor="b" anchorCtr="0">
            <a:noAutofit/>
          </a:bodyPr>
          <a:lstStyle>
            <a:lvl1pPr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defRPr sz="35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GB" dirty="0"/>
              <a:t>Click to add a</a:t>
            </a:r>
            <a:br>
              <a:rPr lang="en-GB" dirty="0"/>
            </a:br>
            <a:r>
              <a:rPr lang="en-GB" dirty="0"/>
              <a:t>title in this space</a:t>
            </a:r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E2C6EB5-9116-CEA7-2485-8B51DFC68F7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76436" y="6133465"/>
            <a:ext cx="3585769" cy="275658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echoresearch.com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403956B-FEE7-B167-74AE-C95E557DEA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0729" y="1838738"/>
            <a:ext cx="1973397" cy="740025"/>
          </a:xfrm>
          <a:prstGeom prst="rect">
            <a:avLst/>
          </a:prstGeom>
        </p:spPr>
      </p:pic>
      <p:sp>
        <p:nvSpPr>
          <p:cNvPr id="2" name="Text Placeholder 32">
            <a:extLst>
              <a:ext uri="{FF2B5EF4-FFF2-40B4-BE49-F238E27FC236}">
                <a16:creationId xmlns:a16="http://schemas.microsoft.com/office/drawing/2014/main" id="{E7E9FB27-5B8E-D4DD-D6D3-6D95B1B391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7843" y="6105256"/>
            <a:ext cx="5819833" cy="275658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6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marL="0" marR="0" lvl="0" indent="-18573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additional info</a:t>
            </a:r>
          </a:p>
          <a:p>
            <a:pPr lvl="0"/>
            <a:endParaRPr lang="en-GB" dirty="0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77FDE858-B480-478A-8693-EADDD180987D}"/>
              </a:ext>
            </a:extLst>
          </p:cNvPr>
          <p:cNvSpPr/>
          <p:nvPr userDrawn="1"/>
        </p:nvSpPr>
        <p:spPr>
          <a:xfrm rot="5400000">
            <a:off x="-45018" y="3043664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795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nly logo">
    <p:bg>
      <p:bgPr>
        <a:gradFill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A428A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25">
            <a:extLst>
              <a:ext uri="{FF2B5EF4-FFF2-40B4-BE49-F238E27FC236}">
                <a16:creationId xmlns:a16="http://schemas.microsoft.com/office/drawing/2014/main" id="{8269B2CF-28BC-5E6B-5D4F-91209196B2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95518" y="0"/>
            <a:ext cx="4308206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9B7998B-91ED-C6B2-7423-1D073C3C3DAC}"/>
              </a:ext>
            </a:extLst>
          </p:cNvPr>
          <p:cNvSpPr txBox="1"/>
          <p:nvPr userDrawn="1"/>
        </p:nvSpPr>
        <p:spPr>
          <a:xfrm>
            <a:off x="6241774" y="-21866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latin typeface="Segoe UI" panose="020B0502040204020203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7DA51886-4193-69A6-5D52-0D20E0AEB4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7843" y="2937848"/>
            <a:ext cx="5819833" cy="961038"/>
          </a:xfrm>
          <a:prstGeom prst="rect">
            <a:avLst/>
          </a:prstGeom>
        </p:spPr>
        <p:txBody>
          <a:bodyPr tIns="0" rIns="0" bIns="0" anchor="b" anchorCtr="0">
            <a:noAutofit/>
          </a:bodyPr>
          <a:lstStyle>
            <a:lvl1pPr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defRPr sz="35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GB" dirty="0"/>
              <a:t>Click to add a</a:t>
            </a:r>
            <a:br>
              <a:rPr lang="en-GB" dirty="0"/>
            </a:br>
            <a:r>
              <a:rPr lang="en-GB" dirty="0"/>
              <a:t>title in this space</a:t>
            </a:r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E2C6EB5-9116-CEA7-2485-8B51DFC68F7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76436" y="6133465"/>
            <a:ext cx="3585769" cy="275658"/>
          </a:xfrm>
          <a:prstGeom prst="rect">
            <a:avLst/>
          </a:prstGeom>
        </p:spPr>
        <p:txBody>
          <a:bodyPr anchor="b" anchorCtr="0"/>
          <a:lstStyle>
            <a:lvl1pPr algn="r">
              <a:spcBef>
                <a:spcPts val="0"/>
              </a:spcBef>
              <a:buNone/>
              <a:defRPr sz="16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echoresearch.com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403956B-FEE7-B167-74AE-C95E557DEA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0729" y="1838738"/>
            <a:ext cx="1973397" cy="740025"/>
          </a:xfrm>
          <a:prstGeom prst="rect">
            <a:avLst/>
          </a:prstGeom>
        </p:spPr>
      </p:pic>
      <p:sp>
        <p:nvSpPr>
          <p:cNvPr id="2" name="Text Placeholder 32">
            <a:extLst>
              <a:ext uri="{FF2B5EF4-FFF2-40B4-BE49-F238E27FC236}">
                <a16:creationId xmlns:a16="http://schemas.microsoft.com/office/drawing/2014/main" id="{E7E9FB27-5B8E-D4DD-D6D3-6D95B1B391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7843" y="6105256"/>
            <a:ext cx="5819833" cy="275658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6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marL="0" marR="0" lvl="0" indent="-18573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additional info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77FDE858-B480-478A-8693-EADDD180987D}"/>
              </a:ext>
            </a:extLst>
          </p:cNvPr>
          <p:cNvSpPr/>
          <p:nvPr userDrawn="1"/>
        </p:nvSpPr>
        <p:spPr>
          <a:xfrm rot="5400000">
            <a:off x="-45018" y="3043664"/>
            <a:ext cx="303400" cy="213364"/>
          </a:xfrm>
          <a:prstGeom prst="triangle">
            <a:avLst/>
          </a:prstGeom>
          <a:solidFill>
            <a:srgbClr val="E60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FA616D5A-156E-1B61-4A98-80AA59AC1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7842" y="4331721"/>
            <a:ext cx="5819833" cy="909643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</p:spTree>
    <p:extLst>
      <p:ext uri="{BB962C8B-B14F-4D97-AF65-F5344CB8AC3E}">
        <p14:creationId xmlns:p14="http://schemas.microsoft.com/office/powerpoint/2010/main" val="367366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eneric Presentation Cover 2">
    <p:bg>
      <p:bgPr>
        <a:gradFill flip="none" rotWithShape="1">
          <a:gsLst>
            <a:gs pos="100000">
              <a:srgbClr val="002060"/>
            </a:gs>
            <a:gs pos="56000">
              <a:srgbClr val="1A428A"/>
            </a:gs>
            <a:gs pos="0">
              <a:srgbClr val="012161"/>
            </a:gs>
            <a:gs pos="100000">
              <a:srgbClr val="1A428A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8CA8D34D-3F36-7844-8EBD-70DF717398AD}"/>
              </a:ext>
            </a:extLst>
          </p:cNvPr>
          <p:cNvSpPr txBox="1"/>
          <p:nvPr userDrawn="1"/>
        </p:nvSpPr>
        <p:spPr>
          <a:xfrm>
            <a:off x="6241774" y="-21866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latin typeface="Segoe UI" panose="020B0502040204020203" pitchFamily="34" charset="0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3EBA4FB-AE55-5F0B-5E6C-FDAC62B885E3}"/>
              </a:ext>
            </a:extLst>
          </p:cNvPr>
          <p:cNvSpPr txBox="1">
            <a:spLocks/>
          </p:cNvSpPr>
          <p:nvPr userDrawn="1"/>
        </p:nvSpPr>
        <p:spPr>
          <a:xfrm>
            <a:off x="9480376" y="6259894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/>
              <a:t> </a:t>
            </a:r>
            <a:endParaRPr lang="en-US" b="0" i="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9C276A-2221-B964-E8B9-4C060A0AC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" r="53019"/>
          <a:stretch/>
        </p:blipFill>
        <p:spPr>
          <a:xfrm>
            <a:off x="0" y="0"/>
            <a:ext cx="5727843" cy="6858000"/>
          </a:xfrm>
          <a:prstGeom prst="rect">
            <a:avLst/>
          </a:prstGeom>
        </p:spPr>
      </p:pic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ED3A1F04-7044-780D-4AD6-0B5AB4EEA6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1397285"/>
            <a:ext cx="5513798" cy="41402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285750" indent="-28575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D3307C"/>
              </a:buClr>
              <a:buFont typeface="Arial" panose="020B0604020202020204" pitchFamily="34" charset="0"/>
              <a:buChar char="•"/>
              <a:defRPr sz="18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1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2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3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4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5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6</a:t>
            </a:r>
          </a:p>
          <a:p>
            <a:pPr lvl="0"/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68BB0A6-9D23-AE56-0B9C-2F2E2FA161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782" y="3162975"/>
            <a:ext cx="2815139" cy="532050"/>
          </a:xfrm>
          <a:prstGeom prst="rect">
            <a:avLst/>
          </a:prstGeom>
        </p:spPr>
        <p:txBody>
          <a:bodyPr tIns="0" rIns="0" bIns="0" anchor="b" anchorCtr="0">
            <a:noAutofit/>
          </a:bodyPr>
          <a:lstStyle>
            <a:lvl1pPr algn="ctr">
              <a:defRPr sz="3200" b="1" i="0">
                <a:solidFill>
                  <a:schemeClr val="bg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GB" dirty="0"/>
              <a:t>Key Points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86CFF2F-99D1-BB46-7A74-F3D18C2BD04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6001" y="6569126"/>
            <a:ext cx="4345172" cy="175733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</p:spTree>
    <p:extLst>
      <p:ext uri="{BB962C8B-B14F-4D97-AF65-F5344CB8AC3E}">
        <p14:creationId xmlns:p14="http://schemas.microsoft.com/office/powerpoint/2010/main" val="3619451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15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eneric Presentation Cov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8CA8D34D-3F36-7844-8EBD-70DF717398AD}"/>
              </a:ext>
            </a:extLst>
          </p:cNvPr>
          <p:cNvSpPr txBox="1"/>
          <p:nvPr userDrawn="1"/>
        </p:nvSpPr>
        <p:spPr>
          <a:xfrm>
            <a:off x="6241774" y="-21866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latin typeface="Segoe UI" panose="020B0502040204020203" pitchFamily="34" charset="0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3EBA4FB-AE55-5F0B-5E6C-FDAC62B885E3}"/>
              </a:ext>
            </a:extLst>
          </p:cNvPr>
          <p:cNvSpPr txBox="1">
            <a:spLocks/>
          </p:cNvSpPr>
          <p:nvPr userDrawn="1"/>
        </p:nvSpPr>
        <p:spPr>
          <a:xfrm>
            <a:off x="9480376" y="6259894"/>
            <a:ext cx="2165574" cy="4318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100" b="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0022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© Echo  |  </a:t>
            </a:r>
            <a:fld id="{63B0B6F6-3050-8D42-B584-673C66151201}" type="slidenum">
              <a:rPr lang="en-US" b="0" i="0" smtClean="0">
                <a:solidFill>
                  <a:srgbClr val="0022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 dirty="0">
                <a:solidFill>
                  <a:srgbClr val="002265"/>
                </a:solidFill>
              </a:rPr>
              <a:t> </a:t>
            </a:r>
            <a:endParaRPr lang="en-US" b="0" i="0" dirty="0">
              <a:solidFill>
                <a:srgbClr val="0022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 Placeholder 32">
            <a:extLst>
              <a:ext uri="{FF2B5EF4-FFF2-40B4-BE49-F238E27FC236}">
                <a16:creationId xmlns:a16="http://schemas.microsoft.com/office/drawing/2014/main" id="{ED3A1F04-7044-780D-4AD6-0B5AB4EEA6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1397285"/>
            <a:ext cx="5513798" cy="41402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285750" indent="-28575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E6007E"/>
              </a:buClr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GB" dirty="0"/>
              <a:t>1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2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3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4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5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6</a:t>
            </a:r>
          </a:p>
          <a:p>
            <a:pPr lvl="0"/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68BB0A6-9D23-AE56-0B9C-2F2E2FA161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3395" y="3100098"/>
            <a:ext cx="2815139" cy="532050"/>
          </a:xfrm>
          <a:prstGeom prst="rect">
            <a:avLst/>
          </a:prstGeom>
        </p:spPr>
        <p:txBody>
          <a:bodyPr tIns="0" rIns="0" bIns="0" anchor="b" anchorCtr="0">
            <a:noAutofit/>
          </a:bodyPr>
          <a:lstStyle>
            <a:lvl1pPr algn="ctr">
              <a:defRPr sz="3200" b="1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GB" dirty="0"/>
              <a:t>Key Points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6BF5E16-54BD-605E-AC48-6A9DF8DC1B7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6000" y="6554747"/>
            <a:ext cx="4547191" cy="180975"/>
          </a:xfrm>
          <a:prstGeom prst="rect">
            <a:avLst/>
          </a:prstGeom>
        </p:spPr>
        <p:txBody>
          <a:bodyPr anchor="b" anchorCtr="0"/>
          <a:lstStyle>
            <a:lvl1pPr algn="l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port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2ADBC1-B18D-26D5-562A-F20BEB8AC0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" r="53019"/>
          <a:stretch/>
        </p:blipFill>
        <p:spPr>
          <a:xfrm>
            <a:off x="0" y="0"/>
            <a:ext cx="572784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064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15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8296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70" r:id="rId2"/>
    <p:sldLayoutId id="2147483764" r:id="rId3"/>
    <p:sldLayoutId id="2147483771" r:id="rId4"/>
    <p:sldLayoutId id="2147483702" r:id="rId5"/>
    <p:sldLayoutId id="2147483723" r:id="rId6"/>
    <p:sldLayoutId id="2147483766" r:id="rId7"/>
    <p:sldLayoutId id="2147483730" r:id="rId8"/>
    <p:sldLayoutId id="2147483747" r:id="rId9"/>
    <p:sldLayoutId id="2147483731" r:id="rId10"/>
    <p:sldLayoutId id="2147483724" r:id="rId11"/>
    <p:sldLayoutId id="2147483732" r:id="rId12"/>
    <p:sldLayoutId id="2147483768" r:id="rId13"/>
    <p:sldLayoutId id="2147483734" r:id="rId14"/>
    <p:sldLayoutId id="2147483767" r:id="rId15"/>
    <p:sldLayoutId id="2147483733" r:id="rId16"/>
    <p:sldLayoutId id="2147483736" r:id="rId17"/>
    <p:sldLayoutId id="2147483759" r:id="rId18"/>
    <p:sldLayoutId id="2147483687" r:id="rId19"/>
    <p:sldLayoutId id="2147483751" r:id="rId20"/>
    <p:sldLayoutId id="2147483743" r:id="rId21"/>
    <p:sldLayoutId id="2147483727" r:id="rId22"/>
    <p:sldLayoutId id="2147483712" r:id="rId23"/>
    <p:sldLayoutId id="2147483735" r:id="rId24"/>
    <p:sldLayoutId id="2147483753" r:id="rId25"/>
    <p:sldLayoutId id="2147483754" r:id="rId26"/>
    <p:sldLayoutId id="2147483682" r:id="rId27"/>
    <p:sldLayoutId id="2147483675" r:id="rId28"/>
    <p:sldLayoutId id="2147483655" r:id="rId29"/>
    <p:sldLayoutId id="2147483765" r:id="rId30"/>
    <p:sldLayoutId id="2147483742" r:id="rId31"/>
    <p:sldLayoutId id="2147483757" r:id="rId32"/>
    <p:sldLayoutId id="2147483719" r:id="rId33"/>
    <p:sldLayoutId id="2147483750" r:id="rId34"/>
    <p:sldLayoutId id="2147483769" r:id="rId35"/>
    <p:sldLayoutId id="2147483745" r:id="rId36"/>
    <p:sldLayoutId id="2147483763" r:id="rId37"/>
    <p:sldLayoutId id="2147483740" r:id="rId38"/>
    <p:sldLayoutId id="2147483739" r:id="rId39"/>
    <p:sldLayoutId id="2147483761" r:id="rId4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i="0" kern="1200">
          <a:solidFill>
            <a:schemeClr val="bg1"/>
          </a:solidFill>
          <a:latin typeface="Segoe UI Semibold" panose="020B0502040204020203" pitchFamily="34" charset="0"/>
          <a:ea typeface="+mj-ea"/>
          <a:cs typeface="Segoe UI Semibold" panose="020B0502040204020203" pitchFamily="34" charset="0"/>
        </a:defRPr>
      </a:lvl1pPr>
    </p:titleStyle>
    <p:bodyStyle>
      <a:lvl1pPr marL="0" indent="-185738" algn="l" defTabSz="914400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tabLst/>
        <a:defRPr sz="1600" kern="1200">
          <a:solidFill>
            <a:srgbClr val="00000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27063" indent="-169863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400" kern="1200">
          <a:solidFill>
            <a:srgbClr val="00000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068388" indent="-153988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400" kern="1200">
          <a:solidFill>
            <a:srgbClr val="00000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524000" indent="-1524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400" kern="1200">
          <a:solidFill>
            <a:srgbClr val="00000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963738" indent="-134938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400" kern="1200">
          <a:solidFill>
            <a:srgbClr val="00000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333">
          <p15:clr>
            <a:srgbClr val="F26B43"/>
          </p15:clr>
        </p15:guide>
        <p15:guide id="4" orient="horz" pos="4247">
          <p15:clr>
            <a:srgbClr val="F26B43"/>
          </p15:clr>
        </p15:guide>
        <p15:guide id="7" pos="347">
          <p15:clr>
            <a:srgbClr val="F26B43"/>
          </p15:clr>
        </p15:guide>
        <p15:guide id="38" pos="75" userDrawn="1">
          <p15:clr>
            <a:srgbClr val="F26B43"/>
          </p15:clr>
        </p15:guide>
        <p15:guide id="39" pos="7605" userDrawn="1">
          <p15:clr>
            <a:srgbClr val="F26B43"/>
          </p15:clr>
        </p15:guide>
        <p15:guide id="40" orient="horz" pos="7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svg"/><Relationship Id="rId3" Type="http://schemas.openxmlformats.org/officeDocument/2006/relationships/image" Target="../media/image33.svg"/><Relationship Id="rId7" Type="http://schemas.openxmlformats.org/officeDocument/2006/relationships/image" Target="../media/image37.svg"/><Relationship Id="rId12" Type="http://schemas.openxmlformats.org/officeDocument/2006/relationships/image" Target="../media/image42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6.png"/><Relationship Id="rId11" Type="http://schemas.openxmlformats.org/officeDocument/2006/relationships/image" Target="../media/image41.svg"/><Relationship Id="rId5" Type="http://schemas.openxmlformats.org/officeDocument/2006/relationships/image" Target="../media/image35.svg"/><Relationship Id="rId15" Type="http://schemas.openxmlformats.org/officeDocument/2006/relationships/image" Target="../media/image45.sv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svg"/><Relationship Id="rId1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map of the world&#10;&#10;AI-generated content may be incorrect.">
            <a:extLst>
              <a:ext uri="{FF2B5EF4-FFF2-40B4-BE49-F238E27FC236}">
                <a16:creationId xmlns:a16="http://schemas.microsoft.com/office/drawing/2014/main" id="{6DAF4B17-A308-4DBB-04EB-BA7592FFD33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203724" cy="3706761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D51DB4D-5E70-3E9B-3B65-59CD9E1571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1569" y="4244110"/>
            <a:ext cx="8134882" cy="1642400"/>
          </a:xfrm>
        </p:spPr>
        <p:txBody>
          <a:bodyPr/>
          <a:lstStyle/>
          <a:p>
            <a:br>
              <a:rPr lang="en-GB" sz="3600" dirty="0">
                <a:latin typeface="+mn-lt"/>
                <a:ea typeface="Aptos" panose="020B0004020202020204" pitchFamily="34" charset="0"/>
                <a:cs typeface="Aptos" panose="020B0004020202020204" pitchFamily="34" charset="0"/>
              </a:rPr>
            </a:br>
            <a:br>
              <a:rPr lang="en-GB" sz="3600" dirty="0">
                <a:latin typeface="+mn-lt"/>
                <a:ea typeface="Aptos" panose="020B0004020202020204" pitchFamily="34" charset="0"/>
                <a:cs typeface="Aptos" panose="020B0004020202020204" pitchFamily="34" charset="0"/>
              </a:rPr>
            </a:br>
            <a:r>
              <a:rPr lang="en-GB" sz="3600" dirty="0"/>
              <a:t>Trust in Real Time: The 2026 Reputation Playbook</a:t>
            </a:r>
            <a:br>
              <a:rPr lang="en-GB" sz="3600" dirty="0"/>
            </a:br>
            <a:br>
              <a:rPr lang="en-GB" sz="3600" dirty="0">
                <a:latin typeface="+mn-lt"/>
                <a:ea typeface="Aptos" panose="020B0004020202020204" pitchFamily="34" charset="0"/>
                <a:cs typeface="Aptos" panose="020B0004020202020204" pitchFamily="34" charset="0"/>
              </a:rPr>
            </a:br>
            <a:r>
              <a:rPr lang="en-GB" sz="2800" dirty="0">
                <a:latin typeface="+mn-lt"/>
                <a:ea typeface="Aptos" panose="020B0004020202020204" pitchFamily="34" charset="0"/>
                <a:cs typeface="Aptos" panose="020B0004020202020204" pitchFamily="34" charset="0"/>
              </a:rPr>
              <a:t>Five Insights from Echo’s Client Advisory Board</a:t>
            </a:r>
            <a:endParaRPr lang="en-GB" sz="2800" dirty="0">
              <a:latin typeface="+mn-lt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EC3E2A-21CE-2DDC-EED0-DA965C98307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F1BC476-B421-AF9E-B1EB-5DF4799647EA}"/>
              </a:ext>
            </a:extLst>
          </p:cNvPr>
          <p:cNvSpPr/>
          <p:nvPr/>
        </p:nvSpPr>
        <p:spPr>
          <a:xfrm>
            <a:off x="0" y="-1"/>
            <a:ext cx="12203724" cy="3706759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45469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227B09B-9937-EE56-89CF-CABFD66819EE}"/>
              </a:ext>
            </a:extLst>
          </p:cNvPr>
          <p:cNvSpPr txBox="1"/>
          <p:nvPr/>
        </p:nvSpPr>
        <p:spPr>
          <a:xfrm>
            <a:off x="3017261" y="3041711"/>
            <a:ext cx="61592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sandra.macleod@echoresearch.c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9964BE6-B385-8FFE-8780-EB54119EAF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4C3AFB1-47D2-3980-F232-35E44B473327}"/>
              </a:ext>
            </a:extLst>
          </p:cNvPr>
          <p:cNvSpPr txBox="1"/>
          <p:nvPr/>
        </p:nvSpPr>
        <p:spPr>
          <a:xfrm>
            <a:off x="8929689" y="6343194"/>
            <a:ext cx="61592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enquiries@echoresearch.com</a:t>
            </a:r>
          </a:p>
        </p:txBody>
      </p:sp>
    </p:spTree>
    <p:extLst>
      <p:ext uri="{BB962C8B-B14F-4D97-AF65-F5344CB8AC3E}">
        <p14:creationId xmlns:p14="http://schemas.microsoft.com/office/powerpoint/2010/main" val="40005185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AACD02-1F22-07AE-CE3B-A1ECE22D00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94BA528-4140-6F55-092C-716C8ECCB0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473" t="5977" r="2446" b="5477"/>
          <a:stretch>
            <a:fillRect/>
          </a:stretch>
        </p:blipFill>
        <p:spPr>
          <a:xfrm>
            <a:off x="6794090" y="1994930"/>
            <a:ext cx="4819582" cy="3035710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4CF9A2-E933-3498-F732-A802A4C1E4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Why This Matters No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DD4E16-2A8A-92E6-4FE6-EB9607E965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1" dirty="0"/>
              <a:t>The World Has Accelerate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843C9EE-B5A1-86D6-F1C3-E5914A49DBAE}"/>
              </a:ext>
            </a:extLst>
          </p:cNvPr>
          <p:cNvSpPr txBox="1"/>
          <p:nvPr/>
        </p:nvSpPr>
        <p:spPr>
          <a:xfrm>
            <a:off x="373627" y="1423111"/>
            <a:ext cx="6544008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Decisions once measured in quarters are now made in moments</a:t>
            </a: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Artificial intelligence, political volatility, and social division are rewriting the rules of reputation</a:t>
            </a: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Echo’s Client Advisory Board convened to explore how organisations can maintain legitimacy and trust and manage risks - in real time</a:t>
            </a: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The traditional marketing funnel is dead; replaced by continuous feedback loops</a:t>
            </a: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Marketing is now prediction, not persuasion</a:t>
            </a: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“</a:t>
            </a:r>
            <a:r>
              <a:rPr lang="en-GB" i="1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Reputation and Trust need to be measured like a living asset</a:t>
            </a:r>
            <a:r>
              <a:rPr lang="en-GB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” – Echo Client Advisory Board Member</a:t>
            </a:r>
            <a:endParaRPr lang="en-GB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1187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map of the world with candlesticks&#10;&#10;AI-generated content may be incorrect.">
            <a:extLst>
              <a:ext uri="{FF2B5EF4-FFF2-40B4-BE49-F238E27FC236}">
                <a16:creationId xmlns:a16="http://schemas.microsoft.com/office/drawing/2014/main" id="{3E98FC84-D107-5B3C-A5CC-577CE514204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13606" y="0"/>
            <a:ext cx="5945181" cy="636669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511E707-5FAD-9131-DBA3-F11172C0F1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1. In the new world, politics drives economic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EDF80D-BC44-6C84-76CC-51AD1E41AA2C}"/>
              </a:ext>
            </a:extLst>
          </p:cNvPr>
          <p:cNvSpPr txBox="1"/>
          <p:nvPr/>
        </p:nvSpPr>
        <p:spPr>
          <a:xfrm>
            <a:off x="617844" y="1931974"/>
            <a:ext cx="483062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Political agendas increasingly drive market outcomes</a:t>
            </a: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Organisations must anticipate shocks and adapt policy as strategy</a:t>
            </a: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Echo’s Advisory Board urges focus to “</a:t>
            </a:r>
            <a:r>
              <a:rPr lang="en-GB" i="1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understand political actors and geopolitics so as to understand policy”</a:t>
            </a:r>
            <a:endParaRPr lang="en-GB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A36F78-C945-39A5-8EBA-121F1C4BFB2A}"/>
              </a:ext>
            </a:extLst>
          </p:cNvPr>
          <p:cNvSpPr/>
          <p:nvPr/>
        </p:nvSpPr>
        <p:spPr>
          <a:xfrm>
            <a:off x="6423444" y="41287"/>
            <a:ext cx="5937505" cy="6366699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F3248F-1443-B785-A4F7-0C9BEF8E49CA}"/>
              </a:ext>
            </a:extLst>
          </p:cNvPr>
          <p:cNvSpPr txBox="1"/>
          <p:nvPr/>
        </p:nvSpPr>
        <p:spPr>
          <a:xfrm>
            <a:off x="501344" y="857285"/>
            <a:ext cx="61107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/>
              <a:t>Geopolitical volatility is now a core business risk and reputations rise or fall on how leaders respond</a:t>
            </a:r>
          </a:p>
        </p:txBody>
      </p:sp>
    </p:spTree>
    <p:extLst>
      <p:ext uri="{BB962C8B-B14F-4D97-AF65-F5344CB8AC3E}">
        <p14:creationId xmlns:p14="http://schemas.microsoft.com/office/powerpoint/2010/main" val="36327404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C20DBD-F7BD-1B39-335D-BC8D8929EA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0A9EA53-7DE2-A450-5A0F-4CE6744368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54494" y="-12292"/>
            <a:ext cx="5937505" cy="637653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B4208B4-A63A-FACA-F369-96AA807E0510}"/>
              </a:ext>
            </a:extLst>
          </p:cNvPr>
          <p:cNvSpPr/>
          <p:nvPr/>
        </p:nvSpPr>
        <p:spPr>
          <a:xfrm>
            <a:off x="6254495" y="-12292"/>
            <a:ext cx="5937505" cy="6366699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5F1085-96B9-F7AB-BC02-C04BD7CB89BC}"/>
              </a:ext>
            </a:extLst>
          </p:cNvPr>
          <p:cNvSpPr txBox="1"/>
          <p:nvPr/>
        </p:nvSpPr>
        <p:spPr>
          <a:xfrm>
            <a:off x="376609" y="1423111"/>
            <a:ext cx="4830622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We’re in a ‘chronic’ crisis era – crises are  constant now but manageable, not curable</a:t>
            </a: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>
              <a:effectLst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>
                <a:ea typeface="Aptos" panose="020B0004020202020204" pitchFamily="34" charset="0"/>
                <a:cs typeface="Aptos" panose="020B0004020202020204" pitchFamily="34" charset="0"/>
              </a:rPr>
              <a:t>Bad things often happen to protect ‘good’ reputations</a:t>
            </a: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Reputation management is ‘continuous care</a:t>
            </a:r>
            <a:r>
              <a:rPr lang="en-GB" dirty="0">
                <a:ea typeface="Times New Roman" panose="02020603050405020304" pitchFamily="18" charset="0"/>
                <a:cs typeface="Aptos" panose="020B0004020202020204" pitchFamily="34" charset="0"/>
              </a:rPr>
              <a:t>’</a:t>
            </a: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285750" lvl="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i="1" dirty="0">
                <a:ea typeface="Times New Roman" panose="02020603050405020304" pitchFamily="18" charset="0"/>
                <a:cs typeface="Aptos" panose="020B0004020202020204" pitchFamily="34" charset="0"/>
              </a:rPr>
              <a:t>“Readiness / </a:t>
            </a:r>
            <a:r>
              <a:rPr lang="en-GB" i="1" dirty="0"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preparedness is the new resilience” – Echo Client Advisory Board Member</a:t>
            </a:r>
            <a:endParaRPr lang="en-GB" i="1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22A0599B-BE2D-4263-629A-065DB4839548}"/>
              </a:ext>
            </a:extLst>
          </p:cNvPr>
          <p:cNvSpPr txBox="1">
            <a:spLocks/>
          </p:cNvSpPr>
          <p:nvPr/>
        </p:nvSpPr>
        <p:spPr>
          <a:xfrm>
            <a:off x="546050" y="450014"/>
            <a:ext cx="11099900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-1857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200" b="1" i="0" kern="1200" spc="0" baseline="0">
                <a:solidFill>
                  <a:srgbClr val="002060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62706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068388" indent="-1539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524000" indent="-152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963738" indent="-134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2. Crisis is a Chronic Condi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B198550-5964-8899-C600-0C685AD24930}"/>
              </a:ext>
            </a:extLst>
          </p:cNvPr>
          <p:cNvSpPr txBox="1"/>
          <p:nvPr/>
        </p:nvSpPr>
        <p:spPr>
          <a:xfrm>
            <a:off x="501344" y="857285"/>
            <a:ext cx="61107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/>
              <a:t>We’re beyond perma-crises now</a:t>
            </a:r>
          </a:p>
        </p:txBody>
      </p:sp>
    </p:spTree>
    <p:extLst>
      <p:ext uri="{BB962C8B-B14F-4D97-AF65-F5344CB8AC3E}">
        <p14:creationId xmlns:p14="http://schemas.microsoft.com/office/powerpoint/2010/main" val="15088637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7CE753-261D-2F31-9F8A-9E3475398F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E52E7AC0-4532-8F29-3501-F851DD03970A}"/>
              </a:ext>
            </a:extLst>
          </p:cNvPr>
          <p:cNvSpPr txBox="1"/>
          <p:nvPr/>
        </p:nvSpPr>
        <p:spPr>
          <a:xfrm>
            <a:off x="373626" y="1423111"/>
            <a:ext cx="5205821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/>
              <a:t>Gen Z represents both promise and paradox - vocal about values but inconsistent in behaviour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/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/>
              <a:t>Their influence is growing, yet their actions (from crypto enthusiasm to cheap-flight habits) reveal the gap between ideals and decisions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/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i="1" dirty="0"/>
              <a:t>“Bridging the Values–Behaviour Gap is the next trust frontier” – Echo Client Advisory Board Memb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746CBA2-D9D7-2C23-517F-55D83E97224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4495" y="-9832"/>
            <a:ext cx="5937505" cy="6371534"/>
          </a:xfrm>
          <a:prstGeom prst="rect">
            <a:avLst/>
          </a:prstGeom>
        </p:spPr>
      </p:pic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8840C86-2237-77B4-E63B-D95721033335}"/>
              </a:ext>
            </a:extLst>
          </p:cNvPr>
          <p:cNvSpPr txBox="1">
            <a:spLocks/>
          </p:cNvSpPr>
          <p:nvPr/>
        </p:nvSpPr>
        <p:spPr>
          <a:xfrm>
            <a:off x="546050" y="450014"/>
            <a:ext cx="11099900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-1857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200" b="1" i="0" kern="1200" spc="0" baseline="0">
                <a:solidFill>
                  <a:srgbClr val="002060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62706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068388" indent="-1539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524000" indent="-152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963738" indent="-134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3. Gen Z: Future-Ready or Future-Risk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99D569-C9B9-68E9-B31E-D96B8E96857A}"/>
              </a:ext>
            </a:extLst>
          </p:cNvPr>
          <p:cNvSpPr txBox="1"/>
          <p:nvPr/>
        </p:nvSpPr>
        <p:spPr>
          <a:xfrm>
            <a:off x="501344" y="857285"/>
            <a:ext cx="61107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/>
              <a:t>Mind the reality disconnect</a:t>
            </a:r>
          </a:p>
        </p:txBody>
      </p:sp>
    </p:spTree>
    <p:extLst>
      <p:ext uri="{BB962C8B-B14F-4D97-AF65-F5344CB8AC3E}">
        <p14:creationId xmlns:p14="http://schemas.microsoft.com/office/powerpoint/2010/main" val="36075015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B219D3-814A-1A87-2E93-63FACD78F5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03874AA-E1CA-8976-605A-92D861D142F6}"/>
              </a:ext>
            </a:extLst>
          </p:cNvPr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 marL="0" indent="-18573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2706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068388" indent="-1539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524000" indent="-152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963738" indent="-134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400" dirty="0">
              <a:solidFill>
                <a:srgbClr val="193255"/>
              </a:solidFill>
              <a:latin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6A660A-12C4-C987-7075-134D3E87C6BB}"/>
              </a:ext>
            </a:extLst>
          </p:cNvPr>
          <p:cNvSpPr txBox="1"/>
          <p:nvPr/>
        </p:nvSpPr>
        <p:spPr>
          <a:xfrm>
            <a:off x="373626" y="1423111"/>
            <a:ext cx="5972738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/>
              <a:t>AI democratises access, empowering a new DIY generation of creators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/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/>
              <a:t>But unverified data breeds misinformation and mistrust and creates risk at speed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/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>
                <a:ea typeface="Times New Roman" panose="02020603050405020304" pitchFamily="18" charset="0"/>
                <a:cs typeface="Aptos" panose="020B0004020202020204" pitchFamily="34" charset="0"/>
              </a:rPr>
              <a:t>When intimacy declines and self-interest rises, trust depreciates. The new differentiator is empathy - Trust’s human face</a:t>
            </a:r>
            <a:endParaRPr lang="en-GB" dirty="0"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/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/>
              <a:t>When combined with human judgement, AI unlocks the 3 I’s:  </a:t>
            </a:r>
            <a:r>
              <a:rPr lang="en-GB" b="1" i="1" dirty="0"/>
              <a:t>Imagination + Integration with Integrity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/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i="1" dirty="0"/>
              <a:t>“AI won’t replace judgement - it will test it.” - Echo Client Advisory Board Member</a:t>
            </a:r>
          </a:p>
        </p:txBody>
      </p:sp>
      <p:pic>
        <p:nvPicPr>
          <p:cNvPr id="2050" name="Picture 2" descr="The AI Trust Gap - The Information ...">
            <a:extLst>
              <a:ext uri="{FF2B5EF4-FFF2-40B4-BE49-F238E27FC236}">
                <a16:creationId xmlns:a16="http://schemas.microsoft.com/office/drawing/2014/main" id="{AF90564B-3AA2-AD19-A182-662C2B7A31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4428" y="1887535"/>
            <a:ext cx="4852163" cy="3228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BD01CFEF-C771-C0A3-EDFD-27AEEDFC89C9}"/>
              </a:ext>
            </a:extLst>
          </p:cNvPr>
          <p:cNvSpPr txBox="1">
            <a:spLocks/>
          </p:cNvSpPr>
          <p:nvPr/>
        </p:nvSpPr>
        <p:spPr>
          <a:xfrm>
            <a:off x="546050" y="450014"/>
            <a:ext cx="11099900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-1857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200" b="1" i="0" kern="1200" spc="0" baseline="0">
                <a:solidFill>
                  <a:srgbClr val="002060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62706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068388" indent="-1539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524000" indent="-152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963738" indent="-134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4. AI &amp; the Trust Gap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737A60E-21D3-ED4E-4190-1026C17CA186}"/>
              </a:ext>
            </a:extLst>
          </p:cNvPr>
          <p:cNvSpPr txBox="1"/>
          <p:nvPr/>
        </p:nvSpPr>
        <p:spPr>
          <a:xfrm>
            <a:off x="501344" y="857285"/>
            <a:ext cx="61107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/>
              <a:t>Untrustworthy – yet unstoppable</a:t>
            </a:r>
          </a:p>
        </p:txBody>
      </p:sp>
    </p:spTree>
    <p:extLst>
      <p:ext uri="{BB962C8B-B14F-4D97-AF65-F5344CB8AC3E}">
        <p14:creationId xmlns:p14="http://schemas.microsoft.com/office/powerpoint/2010/main" val="1690706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707EC9-2A54-D923-F696-DB6B955511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8D0F2C8-6EBC-26FC-6A2B-63041AE0BF3C}"/>
              </a:ext>
            </a:extLst>
          </p:cNvPr>
          <p:cNvSpPr txBox="1"/>
          <p:nvPr/>
        </p:nvSpPr>
        <p:spPr>
          <a:xfrm>
            <a:off x="373626" y="1423111"/>
            <a:ext cx="5869138" cy="480131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/>
              <a:t>As the world accelerates, leadership must be measured in trust, not time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/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/>
              <a:t>Are leaders truly accountable - legally, ethically, reputationally - for the choices they make today?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/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/>
              <a:t>The advantage now lies in foresight - Echo helps leaders see tomorrow’s issues and risks today with the intelligence to interpret early signals and turn insight into preparedness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/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/>
              <a:t>The evidence is there - it’s how we use it that mat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r>
              <a:rPr lang="en-GB" dirty="0">
                <a:ea typeface="Times New Roman" panose="02020603050405020304" pitchFamily="18" charset="0"/>
                <a:cs typeface="Aptos" panose="020B0004020202020204" pitchFamily="34" charset="0"/>
              </a:rPr>
              <a:t>Echo’s Client Advisory Board consensus:  </a:t>
            </a:r>
            <a:r>
              <a:rPr lang="en-GB" dirty="0"/>
              <a:t>“</a:t>
            </a:r>
            <a:r>
              <a:rPr lang="en-GB" i="1" dirty="0"/>
              <a:t>The future of trust depends on how well leaders close these gaps - between words and actions, technology and judgement, decision and accountability.”</a:t>
            </a:r>
            <a:endParaRPr lang="en-GB" dirty="0"/>
          </a:p>
        </p:txBody>
      </p:sp>
      <p:pic>
        <p:nvPicPr>
          <p:cNvPr id="5" name="Picture 4" descr="A blue circular screen with dots and lines&#10;&#10;AI-generated content may be incorrect.">
            <a:extLst>
              <a:ext uri="{FF2B5EF4-FFF2-40B4-BE49-F238E27FC236}">
                <a16:creationId xmlns:a16="http://schemas.microsoft.com/office/drawing/2014/main" id="{67F7168B-F4A3-FE4E-2DA6-5C08234763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54493" y="0"/>
            <a:ext cx="5959527" cy="636669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F78133C-AEA3-FB7F-E163-C047696C61BC}"/>
              </a:ext>
            </a:extLst>
          </p:cNvPr>
          <p:cNvSpPr/>
          <p:nvPr/>
        </p:nvSpPr>
        <p:spPr>
          <a:xfrm>
            <a:off x="6266683" y="-1"/>
            <a:ext cx="5937505" cy="6366699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9602BC2F-CC2F-4277-06A8-493F03CFFECA}"/>
              </a:ext>
            </a:extLst>
          </p:cNvPr>
          <p:cNvSpPr txBox="1">
            <a:spLocks/>
          </p:cNvSpPr>
          <p:nvPr/>
        </p:nvSpPr>
        <p:spPr>
          <a:xfrm>
            <a:off x="546050" y="450014"/>
            <a:ext cx="11099900" cy="4072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-1857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2200" b="1" i="0" kern="1200" spc="0" baseline="0">
                <a:solidFill>
                  <a:srgbClr val="002060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62706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068388" indent="-1539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524000" indent="-152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963738" indent="-134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5. From Insight to Foresigh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0C387E-6AA8-6707-3CFA-35EF6BDD7F36}"/>
              </a:ext>
            </a:extLst>
          </p:cNvPr>
          <p:cNvSpPr txBox="1"/>
          <p:nvPr/>
        </p:nvSpPr>
        <p:spPr>
          <a:xfrm>
            <a:off x="501344" y="857285"/>
            <a:ext cx="61107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/>
              <a:t>Risk Ownership to Consequence Clarity</a:t>
            </a:r>
          </a:p>
        </p:txBody>
      </p:sp>
    </p:spTree>
    <p:extLst>
      <p:ext uri="{BB962C8B-B14F-4D97-AF65-F5344CB8AC3E}">
        <p14:creationId xmlns:p14="http://schemas.microsoft.com/office/powerpoint/2010/main" val="2388539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79C843BE-E459-FA3D-E00F-68F76B335EC1}"/>
              </a:ext>
            </a:extLst>
          </p:cNvPr>
          <p:cNvSpPr/>
          <p:nvPr/>
        </p:nvSpPr>
        <p:spPr>
          <a:xfrm>
            <a:off x="8938188" y="4034312"/>
            <a:ext cx="2686178" cy="20281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645A51-0C3D-47C0-31C3-592CBBCE47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cho Client Advisory Board Voices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76B7D70-211D-B4B0-9973-F44333CDF591}"/>
              </a:ext>
            </a:extLst>
          </p:cNvPr>
          <p:cNvSpPr/>
          <p:nvPr/>
        </p:nvSpPr>
        <p:spPr>
          <a:xfrm>
            <a:off x="527761" y="4034312"/>
            <a:ext cx="2686178" cy="20281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602D10-0D48-5F6E-F717-6A114791B542}"/>
              </a:ext>
            </a:extLst>
          </p:cNvPr>
          <p:cNvSpPr/>
          <p:nvPr/>
        </p:nvSpPr>
        <p:spPr>
          <a:xfrm>
            <a:off x="527761" y="1182620"/>
            <a:ext cx="2686178" cy="27396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9EA542F-7638-7534-BC91-2C655D5C5434}"/>
              </a:ext>
            </a:extLst>
          </p:cNvPr>
          <p:cNvSpPr txBox="1">
            <a:spLocks/>
          </p:cNvSpPr>
          <p:nvPr/>
        </p:nvSpPr>
        <p:spPr>
          <a:xfrm>
            <a:off x="2010394" y="4440256"/>
            <a:ext cx="1204315" cy="1172242"/>
          </a:xfrm>
          <a:prstGeom prst="rect">
            <a:avLst/>
          </a:prstGeom>
        </p:spPr>
        <p:txBody>
          <a:bodyPr/>
          <a:lstStyle>
            <a:lvl1pPr marL="0" indent="-18573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2706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068388" indent="-1539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524000" indent="-152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963738" indent="-134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GB" sz="1400" b="1" dirty="0">
                <a:solidFill>
                  <a:schemeClr val="tx1"/>
                </a:solidFill>
              </a:rPr>
              <a:t>Andrew Whyte</a:t>
            </a:r>
          </a:p>
          <a:p>
            <a:pPr indent="0">
              <a:buNone/>
            </a:pPr>
            <a:r>
              <a:rPr lang="en-GB" sz="1400" b="1" dirty="0">
                <a:solidFill>
                  <a:schemeClr val="tx1"/>
                </a:solidFill>
              </a:rPr>
              <a:t>Advisory Board Member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29CBD7D-9906-F50E-DD51-1D663EADCDAE}"/>
              </a:ext>
            </a:extLst>
          </p:cNvPr>
          <p:cNvSpPr txBox="1">
            <a:spLocks/>
          </p:cNvSpPr>
          <p:nvPr/>
        </p:nvSpPr>
        <p:spPr>
          <a:xfrm>
            <a:off x="643174" y="1852683"/>
            <a:ext cx="2468131" cy="1785989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-18573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2706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068388" indent="-1539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524000" indent="-152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963738" indent="-134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GB" sz="2400" b="1" i="1" dirty="0">
                <a:solidFill>
                  <a:srgbClr val="193255"/>
                </a:solidFill>
                <a:latin typeface="+mn-lt"/>
              </a:rPr>
              <a:t>We need to measure reputation and trust as a living asset</a:t>
            </a:r>
            <a:endParaRPr lang="en-GB" sz="2400" b="1" i="1" dirty="0">
              <a:latin typeface="+mn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8F9408-E0B5-13B6-BBA4-BAA399C547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174" y="1301781"/>
            <a:ext cx="777548" cy="4710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5D45FE8-03BD-FF1D-5863-9E08A24280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2333757" y="3337555"/>
            <a:ext cx="777548" cy="471069"/>
          </a:xfrm>
          <a:prstGeom prst="rect">
            <a:avLst/>
          </a:prstGeom>
        </p:spPr>
      </p:pic>
      <p:pic>
        <p:nvPicPr>
          <p:cNvPr id="19" name="Picture 18" descr="A person in a purple shirt&#10;&#10;AI-generated content may be incorrect.">
            <a:extLst>
              <a:ext uri="{FF2B5EF4-FFF2-40B4-BE49-F238E27FC236}">
                <a16:creationId xmlns:a16="http://schemas.microsoft.com/office/drawing/2014/main" id="{0D215FFE-DBEF-30A3-600A-2A3C22A144D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7818" r="27049"/>
          <a:stretch>
            <a:fillRect/>
          </a:stretch>
        </p:blipFill>
        <p:spPr>
          <a:xfrm>
            <a:off x="666535" y="4234447"/>
            <a:ext cx="1204315" cy="163827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C15C5DCB-650D-D941-EC84-F7EA0806F0EA}"/>
              </a:ext>
            </a:extLst>
          </p:cNvPr>
          <p:cNvSpPr/>
          <p:nvPr/>
        </p:nvSpPr>
        <p:spPr>
          <a:xfrm>
            <a:off x="3331750" y="4034312"/>
            <a:ext cx="2686178" cy="20281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E524C62-66A2-DFFD-024E-A1E3142F6210}"/>
              </a:ext>
            </a:extLst>
          </p:cNvPr>
          <p:cNvSpPr/>
          <p:nvPr/>
        </p:nvSpPr>
        <p:spPr>
          <a:xfrm>
            <a:off x="3337295" y="1182620"/>
            <a:ext cx="2686178" cy="27396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DD657DD-2CFF-5E02-53D0-32B2CF3BC6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2708" y="1301781"/>
            <a:ext cx="777548" cy="471069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C34F819-1C63-1F40-65B1-1B16A8E93E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5143291" y="3337555"/>
            <a:ext cx="777548" cy="471069"/>
          </a:xfrm>
          <a:prstGeom prst="rect">
            <a:avLst/>
          </a:prstGeom>
        </p:spPr>
      </p:pic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88DCE435-1D90-5CB0-AEE5-7F1EEE289A1B}"/>
              </a:ext>
            </a:extLst>
          </p:cNvPr>
          <p:cNvSpPr txBox="1">
            <a:spLocks/>
          </p:cNvSpPr>
          <p:nvPr/>
        </p:nvSpPr>
        <p:spPr>
          <a:xfrm>
            <a:off x="3452708" y="1852683"/>
            <a:ext cx="2570765" cy="178318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-18573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2706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068388" indent="-1539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524000" indent="-152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963738" indent="-134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GB" sz="2200" b="1" i="1" dirty="0">
                <a:solidFill>
                  <a:schemeClr val="tx1"/>
                </a:solidFill>
              </a:rPr>
              <a:t>Bridging the Values-Behaviour Gap is the next trust frontier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7D0EC7D3-2CAD-6F53-7875-80FE113695BF}"/>
              </a:ext>
            </a:extLst>
          </p:cNvPr>
          <p:cNvSpPr txBox="1">
            <a:spLocks/>
          </p:cNvSpPr>
          <p:nvPr/>
        </p:nvSpPr>
        <p:spPr>
          <a:xfrm>
            <a:off x="10431150" y="4442218"/>
            <a:ext cx="1193217" cy="1172242"/>
          </a:xfrm>
          <a:prstGeom prst="rect">
            <a:avLst/>
          </a:prstGeom>
        </p:spPr>
        <p:txBody>
          <a:bodyPr/>
          <a:lstStyle>
            <a:lvl1pPr marL="0" indent="-18573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2706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068388" indent="-1539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524000" indent="-152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963738" indent="-134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GB" sz="1400" b="1" dirty="0">
                <a:solidFill>
                  <a:schemeClr val="tx1"/>
                </a:solidFill>
              </a:rPr>
              <a:t>Kai Boschmann</a:t>
            </a:r>
          </a:p>
          <a:p>
            <a:pPr indent="0">
              <a:buNone/>
            </a:pPr>
            <a:r>
              <a:rPr lang="en-GB" sz="1400" b="1" dirty="0">
                <a:solidFill>
                  <a:schemeClr val="tx1"/>
                </a:solidFill>
              </a:rPr>
              <a:t>Advisory Board Member</a:t>
            </a:r>
          </a:p>
        </p:txBody>
      </p:sp>
      <p:pic>
        <p:nvPicPr>
          <p:cNvPr id="44" name="Picture 43" descr="A person smiling at camera&#10;&#10;AI-generated content may be incorrect.">
            <a:extLst>
              <a:ext uri="{FF2B5EF4-FFF2-40B4-BE49-F238E27FC236}">
                <a16:creationId xmlns:a16="http://schemas.microsoft.com/office/drawing/2014/main" id="{E4006A88-1314-9427-4073-D81E748BEF5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2607" r="23111"/>
          <a:stretch>
            <a:fillRect/>
          </a:stretch>
        </p:blipFill>
        <p:spPr>
          <a:xfrm>
            <a:off x="9136346" y="4224072"/>
            <a:ext cx="1193217" cy="1648646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FDFFC8A7-3958-0AC6-8CB8-0507D1FAB08C}"/>
              </a:ext>
            </a:extLst>
          </p:cNvPr>
          <p:cNvSpPr/>
          <p:nvPr/>
        </p:nvSpPr>
        <p:spPr>
          <a:xfrm>
            <a:off x="6134969" y="4034312"/>
            <a:ext cx="2686178" cy="20281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AF3D7E7-CEF4-62C3-20A0-312D5FEAE805}"/>
              </a:ext>
            </a:extLst>
          </p:cNvPr>
          <p:cNvSpPr/>
          <p:nvPr/>
        </p:nvSpPr>
        <p:spPr>
          <a:xfrm>
            <a:off x="6134969" y="1182620"/>
            <a:ext cx="2686178" cy="27396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9BAB2AD4-FCAD-A70F-2367-35B44EC3E4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0382" y="1301781"/>
            <a:ext cx="777548" cy="471069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23B062F7-29FF-21CC-4638-92C1793AA9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7940965" y="3337555"/>
            <a:ext cx="777548" cy="471069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78BAC9FD-1C94-8D53-1697-4D350DF9969F}"/>
              </a:ext>
            </a:extLst>
          </p:cNvPr>
          <p:cNvSpPr/>
          <p:nvPr/>
        </p:nvSpPr>
        <p:spPr>
          <a:xfrm>
            <a:off x="8935108" y="1182620"/>
            <a:ext cx="2686178" cy="27396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F344EFCD-0FF5-5CBF-FA70-93A569F106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50521" y="1301781"/>
            <a:ext cx="777548" cy="47106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678D7623-67AC-C2EC-DF32-C06D70A4FA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10741104" y="3337555"/>
            <a:ext cx="777548" cy="471069"/>
          </a:xfrm>
          <a:prstGeom prst="rect">
            <a:avLst/>
          </a:prstGeom>
        </p:spPr>
      </p:pic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7C42230C-0138-BFB4-C842-34EAC6683FFB}"/>
              </a:ext>
            </a:extLst>
          </p:cNvPr>
          <p:cNvSpPr txBox="1">
            <a:spLocks/>
          </p:cNvSpPr>
          <p:nvPr/>
        </p:nvSpPr>
        <p:spPr>
          <a:xfrm>
            <a:off x="6250382" y="1852683"/>
            <a:ext cx="2468131" cy="178318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-18573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2706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068388" indent="-1539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524000" indent="-152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963738" indent="-134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GB" sz="2400" b="1" i="1" dirty="0">
                <a:solidFill>
                  <a:srgbClr val="193255"/>
                </a:solidFill>
                <a:latin typeface="+mn-lt"/>
              </a:rPr>
              <a:t>AI won’t replace judgment - it will test it</a:t>
            </a:r>
          </a:p>
          <a:p>
            <a:pPr indent="0">
              <a:buNone/>
            </a:pPr>
            <a:endParaRPr lang="en-GB" sz="2400" b="1" i="1" dirty="0">
              <a:latin typeface="+mn-lt"/>
            </a:endParaRP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D4254D73-30A5-8F07-494A-8A01CD6A0C18}"/>
              </a:ext>
            </a:extLst>
          </p:cNvPr>
          <p:cNvSpPr txBox="1">
            <a:spLocks/>
          </p:cNvSpPr>
          <p:nvPr/>
        </p:nvSpPr>
        <p:spPr>
          <a:xfrm>
            <a:off x="9050521" y="1852683"/>
            <a:ext cx="2468131" cy="178318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-18573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2706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068388" indent="-1539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524000" indent="-152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963738" indent="-134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GB" sz="2400" b="1" i="1" dirty="0">
                <a:solidFill>
                  <a:schemeClr val="tx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Readiness / preparedness is the new resilience</a:t>
            </a:r>
            <a:endParaRPr lang="en-GB" sz="2200" b="1" i="1" dirty="0">
              <a:solidFill>
                <a:schemeClr val="tx1"/>
              </a:solidFill>
            </a:endParaRP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31E0A789-E360-6BDF-B1CA-2819C8F994CF}"/>
              </a:ext>
            </a:extLst>
          </p:cNvPr>
          <p:cNvSpPr txBox="1">
            <a:spLocks/>
          </p:cNvSpPr>
          <p:nvPr/>
        </p:nvSpPr>
        <p:spPr>
          <a:xfrm>
            <a:off x="7684523" y="4442219"/>
            <a:ext cx="1141563" cy="1172242"/>
          </a:xfrm>
          <a:prstGeom prst="rect">
            <a:avLst/>
          </a:prstGeom>
        </p:spPr>
        <p:txBody>
          <a:bodyPr/>
          <a:lstStyle>
            <a:lvl1pPr marL="0" indent="-18573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2706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068388" indent="-1539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524000" indent="-152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963738" indent="-134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GB" sz="1400" b="1" dirty="0">
                <a:solidFill>
                  <a:schemeClr val="tx1"/>
                </a:solidFill>
              </a:rPr>
              <a:t>James    Tutt</a:t>
            </a:r>
          </a:p>
          <a:p>
            <a:pPr indent="0">
              <a:buNone/>
            </a:pPr>
            <a:r>
              <a:rPr lang="en-GB" sz="1400" b="1" dirty="0">
                <a:solidFill>
                  <a:schemeClr val="tx1"/>
                </a:solidFill>
              </a:rPr>
              <a:t>Advisory Board Member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D493B4BF-0B69-DE22-A806-B8FE6C681E69}"/>
              </a:ext>
            </a:extLst>
          </p:cNvPr>
          <p:cNvSpPr txBox="1">
            <a:spLocks/>
          </p:cNvSpPr>
          <p:nvPr/>
        </p:nvSpPr>
        <p:spPr>
          <a:xfrm>
            <a:off x="4852717" y="4305926"/>
            <a:ext cx="1204315" cy="1172242"/>
          </a:xfrm>
          <a:prstGeom prst="rect">
            <a:avLst/>
          </a:prstGeom>
        </p:spPr>
        <p:txBody>
          <a:bodyPr/>
          <a:lstStyle>
            <a:lvl1pPr marL="0" indent="-18573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2706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068388" indent="-1539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524000" indent="-152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963738" indent="-1349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GB" sz="1400" b="1" dirty="0">
                <a:solidFill>
                  <a:schemeClr val="tx1"/>
                </a:solidFill>
              </a:rPr>
              <a:t>Professor</a:t>
            </a:r>
          </a:p>
          <a:p>
            <a:pPr indent="0">
              <a:buNone/>
            </a:pPr>
            <a:r>
              <a:rPr lang="en-GB" sz="1400" b="1" dirty="0">
                <a:solidFill>
                  <a:schemeClr val="tx1"/>
                </a:solidFill>
              </a:rPr>
              <a:t>Anne Gregory</a:t>
            </a:r>
          </a:p>
          <a:p>
            <a:pPr indent="0">
              <a:buNone/>
            </a:pPr>
            <a:r>
              <a:rPr lang="en-GB" sz="1400" b="1" dirty="0">
                <a:solidFill>
                  <a:schemeClr val="tx1"/>
                </a:solidFill>
              </a:rPr>
              <a:t>Advisory Board Member</a:t>
            </a:r>
          </a:p>
        </p:txBody>
      </p:sp>
      <p:pic>
        <p:nvPicPr>
          <p:cNvPr id="58" name="Picture 57" descr="A person wearing glasses and a floral shirt&#10;&#10;AI-generated content may be incorrect.">
            <a:extLst>
              <a:ext uri="{FF2B5EF4-FFF2-40B4-BE49-F238E27FC236}">
                <a16:creationId xmlns:a16="http://schemas.microsoft.com/office/drawing/2014/main" id="{EA0E2BEC-6386-8C10-D303-123FA549B995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9903" t="5991" r="28222" b="18055"/>
          <a:stretch>
            <a:fillRect/>
          </a:stretch>
        </p:blipFill>
        <p:spPr>
          <a:xfrm>
            <a:off x="3530590" y="4224072"/>
            <a:ext cx="1204316" cy="1638271"/>
          </a:xfrm>
          <a:prstGeom prst="rect">
            <a:avLst/>
          </a:prstGeom>
        </p:spPr>
      </p:pic>
      <p:pic>
        <p:nvPicPr>
          <p:cNvPr id="59" name="Picture 58" descr="A person with glasses smiling&#10;&#10;AI-generated content may be incorrect.">
            <a:extLst>
              <a:ext uri="{FF2B5EF4-FFF2-40B4-BE49-F238E27FC236}">
                <a16:creationId xmlns:a16="http://schemas.microsoft.com/office/drawing/2014/main" id="{CB619511-C038-E9EF-7549-26FD62CB1D4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7957" t="1512" r="18423" b="1232"/>
          <a:stretch>
            <a:fillRect/>
          </a:stretch>
        </p:blipFill>
        <p:spPr>
          <a:xfrm>
            <a:off x="6307588" y="4229260"/>
            <a:ext cx="1204316" cy="163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88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 descr="Star outline">
            <a:extLst>
              <a:ext uri="{FF2B5EF4-FFF2-40B4-BE49-F238E27FC236}">
                <a16:creationId xmlns:a16="http://schemas.microsoft.com/office/drawing/2014/main" id="{C2A210E0-3C85-A867-24DB-2695627EA5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9891" y="4350235"/>
            <a:ext cx="720000" cy="720000"/>
          </a:xfrm>
          <a:prstGeom prst="rect">
            <a:avLst/>
          </a:prstGeom>
        </p:spPr>
      </p:pic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C644E00E-1E40-860C-8563-5F99363704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6050" y="450014"/>
            <a:ext cx="11099900" cy="407271"/>
          </a:xfrm>
        </p:spPr>
        <p:txBody>
          <a:bodyPr/>
          <a:lstStyle/>
          <a:p>
            <a:r>
              <a:rPr lang="en-GB" dirty="0"/>
              <a:t>Building Future-Ready Organisations with Evidence and Insigh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D559BC-EADB-7BED-DF68-22B5959D49DC}"/>
              </a:ext>
            </a:extLst>
          </p:cNvPr>
          <p:cNvSpPr txBox="1"/>
          <p:nvPr/>
        </p:nvSpPr>
        <p:spPr>
          <a:xfrm>
            <a:off x="1226448" y="1642062"/>
            <a:ext cx="4750285" cy="36625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tabLst>
                <a:tab pos="457200" algn="l"/>
              </a:tabLst>
            </a:pPr>
            <a:r>
              <a:rPr lang="en-GB" sz="3600" b="1" dirty="0">
                <a:solidFill>
                  <a:srgbClr val="D3307C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AGILITY</a:t>
            </a:r>
            <a:endParaRPr lang="en-GB" sz="3600" b="1" dirty="0">
              <a:solidFill>
                <a:srgbClr val="D3307C"/>
              </a:solidFill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lvl="0">
              <a:tabLst>
                <a:tab pos="457200" algn="l"/>
              </a:tabLst>
            </a:pPr>
            <a:r>
              <a:rPr lang="en-GB" sz="200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to move fast and think deeply</a:t>
            </a:r>
          </a:p>
          <a:p>
            <a:pPr lvl="0">
              <a:tabLst>
                <a:tab pos="457200" algn="l"/>
              </a:tabLst>
            </a:pPr>
            <a:endParaRPr lang="en-GB" sz="3200" dirty="0">
              <a:solidFill>
                <a:schemeClr val="bg1"/>
              </a:solidFill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0">
              <a:tabLst>
                <a:tab pos="457200" algn="l"/>
              </a:tabLst>
            </a:pPr>
            <a:r>
              <a:rPr lang="en-GB" sz="3600" b="1" dirty="0">
                <a:solidFill>
                  <a:srgbClr val="D3307C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LEGITIMACY</a:t>
            </a:r>
            <a:endParaRPr lang="en-GB" sz="3600" b="1" dirty="0">
              <a:solidFill>
                <a:srgbClr val="D3307C"/>
              </a:solidFill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lvl="0">
              <a:tabLst>
                <a:tab pos="457200" algn="l"/>
              </a:tabLst>
            </a:pPr>
            <a:r>
              <a:rPr lang="en-GB" sz="200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to act with purpose and permission</a:t>
            </a:r>
          </a:p>
          <a:p>
            <a:pPr lvl="0">
              <a:tabLst>
                <a:tab pos="457200" algn="l"/>
              </a:tabLst>
            </a:pPr>
            <a:endParaRPr lang="en-GB" sz="3200" dirty="0">
              <a:solidFill>
                <a:schemeClr val="bg1"/>
              </a:solidFill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0">
              <a:tabLst>
                <a:tab pos="457200" algn="l"/>
              </a:tabLst>
            </a:pPr>
            <a:r>
              <a:rPr lang="en-GB" sz="3600" b="1" dirty="0">
                <a:solidFill>
                  <a:srgbClr val="D3307C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CONFIDENCE</a:t>
            </a:r>
          </a:p>
          <a:p>
            <a:pPr lvl="0">
              <a:tabLst>
                <a:tab pos="457200" algn="l"/>
              </a:tabLst>
            </a:pPr>
            <a:r>
              <a:rPr lang="en-GB" sz="200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to lead through uncertainty</a:t>
            </a:r>
          </a:p>
        </p:txBody>
      </p:sp>
      <p:pic>
        <p:nvPicPr>
          <p:cNvPr id="13" name="Graphic 12" descr="Scales of justice outline">
            <a:extLst>
              <a:ext uri="{FF2B5EF4-FFF2-40B4-BE49-F238E27FC236}">
                <a16:creationId xmlns:a16="http://schemas.microsoft.com/office/drawing/2014/main" id="{D806CC5E-1065-D0D2-94B6-C44DF2E960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3005" y="3070599"/>
            <a:ext cx="720000" cy="7200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E870057-E0FA-CEDD-8EEE-A254506FF195}"/>
              </a:ext>
            </a:extLst>
          </p:cNvPr>
          <p:cNvSpPr txBox="1"/>
          <p:nvPr/>
        </p:nvSpPr>
        <p:spPr>
          <a:xfrm>
            <a:off x="6304370" y="1642062"/>
            <a:ext cx="5500534" cy="36625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tabLst>
                <a:tab pos="457200" algn="l"/>
              </a:tabLst>
            </a:pPr>
            <a:r>
              <a:rPr lang="en-GB" sz="3600" b="1" dirty="0">
                <a:solidFill>
                  <a:srgbClr val="D3307C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RISK READINESS</a:t>
            </a:r>
          </a:p>
          <a:p>
            <a:pPr lvl="0">
              <a:tabLst>
                <a:tab pos="457200" algn="l"/>
              </a:tabLst>
            </a:pPr>
            <a:r>
              <a:rPr lang="en-GB" sz="2000" dirty="0">
                <a:solidFill>
                  <a:schemeClr val="bg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to manage the next disruption</a:t>
            </a:r>
          </a:p>
          <a:p>
            <a:pPr lvl="0">
              <a:tabLst>
                <a:tab pos="457200" algn="l"/>
              </a:tabLst>
            </a:pPr>
            <a:endParaRPr lang="en-GB" sz="3200" dirty="0">
              <a:solidFill>
                <a:schemeClr val="bg1"/>
              </a:solidFill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0">
              <a:tabLst>
                <a:tab pos="457200" algn="l"/>
              </a:tabLst>
            </a:pPr>
            <a:r>
              <a:rPr lang="en-GB" sz="3600" b="1" dirty="0">
                <a:solidFill>
                  <a:srgbClr val="D3307C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FUTURE FOCUS</a:t>
            </a:r>
            <a:endParaRPr lang="en-GB" sz="3600" b="1" dirty="0">
              <a:solidFill>
                <a:schemeClr val="bg1"/>
              </a:solidFill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lvl="0">
              <a:tabLst>
                <a:tab pos="457200" algn="l"/>
              </a:tabLst>
            </a:pPr>
            <a:r>
              <a:rPr lang="en-GB" sz="2000" dirty="0">
                <a:solidFill>
                  <a:schemeClr val="bg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to anticipate shifts</a:t>
            </a:r>
          </a:p>
          <a:p>
            <a:pPr lvl="0">
              <a:tabLst>
                <a:tab pos="457200" algn="l"/>
              </a:tabLst>
            </a:pPr>
            <a:endParaRPr lang="en-GB" sz="3200" dirty="0">
              <a:solidFill>
                <a:schemeClr val="bg1"/>
              </a:solidFill>
              <a:ea typeface="Aptos" panose="020B0004020202020204" pitchFamily="34" charset="0"/>
              <a:cs typeface="Aptos" panose="020B0004020202020204" pitchFamily="34" charset="0"/>
            </a:endParaRPr>
          </a:p>
          <a:p>
            <a:pPr lvl="0">
              <a:tabLst>
                <a:tab pos="457200" algn="l"/>
              </a:tabLst>
            </a:pPr>
            <a:r>
              <a:rPr lang="en-GB" sz="3600" b="1" dirty="0">
                <a:solidFill>
                  <a:srgbClr val="D3307C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LANGUAGE SENSITIVITY</a:t>
            </a:r>
          </a:p>
          <a:p>
            <a:pPr lvl="0">
              <a:tabLst>
                <a:tab pos="457200" algn="l"/>
              </a:tabLst>
            </a:pPr>
            <a:r>
              <a:rPr lang="en-GB" sz="2000" dirty="0">
                <a:solidFill>
                  <a:schemeClr val="bg1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to communicate without polarising</a:t>
            </a:r>
            <a:endParaRPr lang="en-GB" sz="2000" dirty="0">
              <a:solidFill>
                <a:schemeClr val="bg1"/>
              </a:solidFill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pic>
        <p:nvPicPr>
          <p:cNvPr id="19" name="Graphic 18" descr="Artificial Intelligence outline">
            <a:extLst>
              <a:ext uri="{FF2B5EF4-FFF2-40B4-BE49-F238E27FC236}">
                <a16:creationId xmlns:a16="http://schemas.microsoft.com/office/drawing/2014/main" id="{EFF776CD-D99C-4ED9-54FA-06CF9D4B5B4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20946" y="3075863"/>
            <a:ext cx="720000" cy="720000"/>
          </a:xfrm>
          <a:prstGeom prst="rect">
            <a:avLst/>
          </a:prstGeom>
        </p:spPr>
      </p:pic>
      <p:pic>
        <p:nvPicPr>
          <p:cNvPr id="21" name="Graphic 20" descr="Chat bubble outline">
            <a:extLst>
              <a:ext uri="{FF2B5EF4-FFF2-40B4-BE49-F238E27FC236}">
                <a16:creationId xmlns:a16="http://schemas.microsoft.com/office/drawing/2014/main" id="{6809208D-0C26-A03E-FB1D-79B6A685AC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20946" y="4350235"/>
            <a:ext cx="720000" cy="720000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B2DAA5C4-C2BB-599A-A392-A0747546FF1E}"/>
              </a:ext>
            </a:extLst>
          </p:cNvPr>
          <p:cNvGrpSpPr/>
          <p:nvPr/>
        </p:nvGrpSpPr>
        <p:grpSpPr>
          <a:xfrm>
            <a:off x="5563252" y="1765451"/>
            <a:ext cx="720899" cy="917792"/>
            <a:chOff x="5919974" y="669766"/>
            <a:chExt cx="720899" cy="917792"/>
          </a:xfrm>
        </p:grpSpPr>
        <p:pic>
          <p:nvPicPr>
            <p:cNvPr id="25" name="Graphic 24" descr="Warning outline">
              <a:extLst>
                <a:ext uri="{FF2B5EF4-FFF2-40B4-BE49-F238E27FC236}">
                  <a16:creationId xmlns:a16="http://schemas.microsoft.com/office/drawing/2014/main" id="{B5C5EF0C-12F4-8438-28BA-88967A68EA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189530" y="669766"/>
              <a:ext cx="432000" cy="432000"/>
            </a:xfrm>
            <a:prstGeom prst="rect">
              <a:avLst/>
            </a:prstGeom>
          </p:spPr>
        </p:pic>
        <p:pic>
          <p:nvPicPr>
            <p:cNvPr id="27" name="Graphic 26" descr="Open hand outline">
              <a:extLst>
                <a:ext uri="{FF2B5EF4-FFF2-40B4-BE49-F238E27FC236}">
                  <a16:creationId xmlns:a16="http://schemas.microsoft.com/office/drawing/2014/main" id="{B1006B43-CC0A-EBF1-1C3A-D2054866F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501288">
              <a:off x="5919974" y="866659"/>
              <a:ext cx="720899" cy="720899"/>
            </a:xfrm>
            <a:prstGeom prst="rect">
              <a:avLst/>
            </a:prstGeom>
          </p:spPr>
        </p:pic>
      </p:grpSp>
      <p:pic>
        <p:nvPicPr>
          <p:cNvPr id="31" name="Graphic 30" descr="Yoga outline">
            <a:extLst>
              <a:ext uri="{FF2B5EF4-FFF2-40B4-BE49-F238E27FC236}">
                <a16:creationId xmlns:a16="http://schemas.microsoft.com/office/drawing/2014/main" id="{AFECF505-52C8-0439-42DA-2E21DD2F204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06448" y="1765451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803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cho 2025 V2">
      <a:dk1>
        <a:srgbClr val="002060"/>
      </a:dk1>
      <a:lt1>
        <a:srgbClr val="FFFFFF"/>
      </a:lt1>
      <a:dk2>
        <a:srgbClr val="0081C4"/>
      </a:dk2>
      <a:lt2>
        <a:srgbClr val="00B0F0"/>
      </a:lt2>
      <a:accent1>
        <a:srgbClr val="D32D7D"/>
      </a:accent1>
      <a:accent2>
        <a:srgbClr val="F4333E"/>
      </a:accent2>
      <a:accent3>
        <a:srgbClr val="F4B235"/>
      </a:accent3>
      <a:accent4>
        <a:srgbClr val="76BC20"/>
      </a:accent4>
      <a:accent5>
        <a:srgbClr val="FF6600"/>
      </a:accent5>
      <a:accent6>
        <a:srgbClr val="000000"/>
      </a:accent6>
      <a:hlink>
        <a:srgbClr val="D32D7D"/>
      </a:hlink>
      <a:folHlink>
        <a:srgbClr val="EDABCB"/>
      </a:folHlink>
    </a:clrScheme>
    <a:fontScheme name="Custom 2">
      <a:majorFont>
        <a:latin typeface="Segoe UI (Headings)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ho Template 2025 UPDATE" id="{8CA77661-3CB2-4349-82BE-202E4CC1D4D9}" vid="{3565509A-B4A9-43FE-9DF8-6E14C21C7C7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Echo Research template 2025</Template>
  <TotalTime>976</TotalTime>
  <Words>623</Words>
  <Application>Microsoft Office PowerPoint</Application>
  <PresentationFormat>Widescreen</PresentationFormat>
  <Paragraphs>92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ptos</vt:lpstr>
      <vt:lpstr>Arial</vt:lpstr>
      <vt:lpstr>Calibri</vt:lpstr>
      <vt:lpstr>Segoe UI</vt:lpstr>
      <vt:lpstr>Segoe UI Semibold</vt:lpstr>
      <vt:lpstr>Times New Roman</vt:lpstr>
      <vt:lpstr>Trebuchet MS</vt:lpstr>
      <vt:lpstr>Office Theme</vt:lpstr>
      <vt:lpstr>think-cell Slide</vt:lpstr>
      <vt:lpstr>  Trust in Real Time: The 2026 Reputation Playbook  Five Insights from Echo’s Client Advisory Boar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ydia Morris</dc:creator>
  <cp:lastModifiedBy>Lydia Morris</cp:lastModifiedBy>
  <cp:revision>30</cp:revision>
  <dcterms:created xsi:type="dcterms:W3CDTF">2025-11-07T10:59:43Z</dcterms:created>
  <dcterms:modified xsi:type="dcterms:W3CDTF">2025-12-08T16:39:20Z</dcterms:modified>
</cp:coreProperties>
</file>